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39.xml" ContentType="application/vnd.openxmlformats-officedocument.presentationml.slideLayout+xml"/>
  <Override PartName="/ppt/diagrams/colors1.xml" ContentType="application/vnd.openxmlformats-officedocument.drawingml.diagramColor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711" r:id="rId2"/>
    <p:sldMasterId id="2147483733" r:id="rId3"/>
  </p:sldMasterIdLst>
  <p:notesMasterIdLst>
    <p:notesMasterId r:id="rId23"/>
  </p:notesMasterIdLst>
  <p:sldIdLst>
    <p:sldId id="286" r:id="rId4"/>
    <p:sldId id="290" r:id="rId5"/>
    <p:sldId id="287" r:id="rId6"/>
    <p:sldId id="278" r:id="rId7"/>
    <p:sldId id="282" r:id="rId8"/>
    <p:sldId id="265" r:id="rId9"/>
    <p:sldId id="266" r:id="rId10"/>
    <p:sldId id="269" r:id="rId11"/>
    <p:sldId id="267" r:id="rId12"/>
    <p:sldId id="280" r:id="rId13"/>
    <p:sldId id="268" r:id="rId14"/>
    <p:sldId id="270" r:id="rId15"/>
    <p:sldId id="272" r:id="rId16"/>
    <p:sldId id="273" r:id="rId17"/>
    <p:sldId id="274" r:id="rId18"/>
    <p:sldId id="276" r:id="rId19"/>
    <p:sldId id="275" r:id="rId20"/>
    <p:sldId id="288" r:id="rId21"/>
    <p:sldId id="289" r:id="rId22"/>
  </p:sldIdLst>
  <p:sldSz cx="9144000" cy="6858000" type="screen4x3"/>
  <p:notesSz cx="6761163" cy="994251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15620"/>
    <p:restoredTop sz="94505" autoAdjust="0"/>
  </p:normalViewPr>
  <p:slideViewPr>
    <p:cSldViewPr>
      <p:cViewPr>
        <p:scale>
          <a:sx n="60" d="100"/>
          <a:sy n="60" d="100"/>
        </p:scale>
        <p:origin x="-2124" y="-6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image" Target="../media/image21.jpeg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1.png"/><Relationship Id="rId2" Type="http://schemas.openxmlformats.org/officeDocument/2006/relationships/image" Target="../media/image251.jpeg"/><Relationship Id="rId1" Type="http://schemas.openxmlformats.org/officeDocument/2006/relationships/image" Target="../media/image24.jpeg"/><Relationship Id="rId6" Type="http://schemas.openxmlformats.org/officeDocument/2006/relationships/image" Target="../media/image291.png"/><Relationship Id="rId5" Type="http://schemas.openxmlformats.org/officeDocument/2006/relationships/image" Target="../media/image28.jpeg"/><Relationship Id="rId4" Type="http://schemas.openxmlformats.org/officeDocument/2006/relationships/image" Target="../media/image27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3947E4-65F9-4F5B-8CE8-142786F32A61}" type="doc">
      <dgm:prSet loTypeId="urn:microsoft.com/office/officeart/2005/8/layout/vList4#1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2E301BA-D0CA-4667-8B20-5BBB9E84442C}">
      <dgm:prSet phldrT="[Текст]" custT="1"/>
      <dgm:spPr/>
      <dgm:t>
        <a:bodyPr/>
        <a:lstStyle/>
        <a:p>
          <a:r>
            <a:rPr lang="ru-RU" altLang="ru-RU" sz="1800" b="0" dirty="0" smtClean="0"/>
            <a:t>Культура</a:t>
          </a:r>
          <a:endParaRPr lang="ru-RU" sz="1800" b="0" dirty="0"/>
        </a:p>
      </dgm:t>
    </dgm:pt>
    <dgm:pt modelId="{9E0A400B-A6D3-4D57-9069-2D0C55D07F9A}" type="parTrans" cxnId="{A20FD24F-9335-4B45-811F-53AC8635B2AA}">
      <dgm:prSet/>
      <dgm:spPr/>
      <dgm:t>
        <a:bodyPr/>
        <a:lstStyle/>
        <a:p>
          <a:endParaRPr lang="ru-RU"/>
        </a:p>
      </dgm:t>
    </dgm:pt>
    <dgm:pt modelId="{7F340910-A60D-4244-9287-6CE135934011}" type="sibTrans" cxnId="{A20FD24F-9335-4B45-811F-53AC8635B2AA}">
      <dgm:prSet/>
      <dgm:spPr/>
      <dgm:t>
        <a:bodyPr/>
        <a:lstStyle/>
        <a:p>
          <a:endParaRPr lang="ru-RU"/>
        </a:p>
      </dgm:t>
    </dgm:pt>
    <dgm:pt modelId="{798BA9FB-4797-4910-9E5A-4A0296750570}">
      <dgm:prSet custT="1"/>
      <dgm:spPr/>
      <dgm:t>
        <a:bodyPr/>
        <a:lstStyle/>
        <a:p>
          <a:r>
            <a:rPr lang="ru-RU" altLang="ru-RU" sz="1800" b="0" dirty="0" smtClean="0"/>
            <a:t>Информатизация</a:t>
          </a:r>
        </a:p>
      </dgm:t>
    </dgm:pt>
    <dgm:pt modelId="{D1099BA2-F951-49D7-8859-8AD64771F1AB}" type="parTrans" cxnId="{233A3960-DAF8-48C4-814C-EA35D1091996}">
      <dgm:prSet/>
      <dgm:spPr/>
      <dgm:t>
        <a:bodyPr/>
        <a:lstStyle/>
        <a:p>
          <a:endParaRPr lang="ru-RU"/>
        </a:p>
      </dgm:t>
    </dgm:pt>
    <dgm:pt modelId="{2E363BA5-E47B-4D1B-9961-A01F318C0FC4}" type="sibTrans" cxnId="{233A3960-DAF8-48C4-814C-EA35D1091996}">
      <dgm:prSet/>
      <dgm:spPr/>
      <dgm:t>
        <a:bodyPr/>
        <a:lstStyle/>
        <a:p>
          <a:endParaRPr lang="ru-RU"/>
        </a:p>
      </dgm:t>
    </dgm:pt>
    <dgm:pt modelId="{051883DC-1857-41BD-9AD6-975DCEBA0A4B}">
      <dgm:prSet custT="1"/>
      <dgm:spPr/>
      <dgm:t>
        <a:bodyPr/>
        <a:lstStyle/>
        <a:p>
          <a:r>
            <a:rPr lang="ru-RU" altLang="ru-RU" sz="1800" b="0" dirty="0" smtClean="0"/>
            <a:t>Санитарно-техническое состояние</a:t>
          </a:r>
        </a:p>
      </dgm:t>
    </dgm:pt>
    <dgm:pt modelId="{431F663C-9AD5-4128-B855-88BB29661139}" type="parTrans" cxnId="{A2E2FD08-C70B-4706-80AC-4EB4CC00C7F7}">
      <dgm:prSet/>
      <dgm:spPr/>
      <dgm:t>
        <a:bodyPr/>
        <a:lstStyle/>
        <a:p>
          <a:endParaRPr lang="ru-RU"/>
        </a:p>
      </dgm:t>
    </dgm:pt>
    <dgm:pt modelId="{7D8BFFEC-A08F-489E-94B7-EE8E6514E0C7}" type="sibTrans" cxnId="{A2E2FD08-C70B-4706-80AC-4EB4CC00C7F7}">
      <dgm:prSet/>
      <dgm:spPr/>
      <dgm:t>
        <a:bodyPr/>
        <a:lstStyle/>
        <a:p>
          <a:endParaRPr lang="ru-RU"/>
        </a:p>
      </dgm:t>
    </dgm:pt>
    <dgm:pt modelId="{3EDDF0BF-385F-4555-BD88-FD34461B9C3B}">
      <dgm:prSet phldrT="[Текст]" custT="1"/>
      <dgm:spPr/>
      <dgm:t>
        <a:bodyPr/>
        <a:lstStyle/>
        <a:p>
          <a:r>
            <a:rPr lang="ru-RU" altLang="ru-RU" sz="1800" b="0" dirty="0" smtClean="0"/>
            <a:t>Менеджмент</a:t>
          </a:r>
          <a:endParaRPr lang="ru-RU" sz="1800" b="0" dirty="0"/>
        </a:p>
      </dgm:t>
    </dgm:pt>
    <dgm:pt modelId="{2985D8F6-7C9B-4720-9ECE-954E8EC8D965}" type="parTrans" cxnId="{741F7449-DD35-4309-8FBB-BBD7C954E017}">
      <dgm:prSet/>
      <dgm:spPr/>
      <dgm:t>
        <a:bodyPr/>
        <a:lstStyle/>
        <a:p>
          <a:endParaRPr lang="ru-RU"/>
        </a:p>
      </dgm:t>
    </dgm:pt>
    <dgm:pt modelId="{1BF9AF5D-59DE-4135-9DC8-7874A254983C}" type="sibTrans" cxnId="{741F7449-DD35-4309-8FBB-BBD7C954E017}">
      <dgm:prSet/>
      <dgm:spPr/>
      <dgm:t>
        <a:bodyPr/>
        <a:lstStyle/>
        <a:p>
          <a:endParaRPr lang="ru-RU"/>
        </a:p>
      </dgm:t>
    </dgm:pt>
    <dgm:pt modelId="{6C7B17E0-30CF-4EB0-A9D2-5F7F44AC2973}">
      <dgm:prSet phldrT="[Текст]" custT="1"/>
      <dgm:spPr/>
      <dgm:t>
        <a:bodyPr/>
        <a:lstStyle/>
        <a:p>
          <a:r>
            <a:rPr lang="ru-RU" altLang="ru-RU" sz="1800" b="0" dirty="0" smtClean="0"/>
            <a:t>Кадровые проблемы</a:t>
          </a:r>
          <a:endParaRPr lang="ru-RU" sz="1800" b="0" dirty="0"/>
        </a:p>
      </dgm:t>
    </dgm:pt>
    <dgm:pt modelId="{40E8D4ED-F09B-4D34-9C5E-48F5F6562421}" type="parTrans" cxnId="{D0A3B33A-530C-4244-8C18-FF70A4666E95}">
      <dgm:prSet/>
      <dgm:spPr/>
      <dgm:t>
        <a:bodyPr/>
        <a:lstStyle/>
        <a:p>
          <a:endParaRPr lang="ru-RU"/>
        </a:p>
      </dgm:t>
    </dgm:pt>
    <dgm:pt modelId="{8310E70B-41D0-43A7-A8B5-77F0F633577C}" type="sibTrans" cxnId="{D0A3B33A-530C-4244-8C18-FF70A4666E95}">
      <dgm:prSet/>
      <dgm:spPr/>
      <dgm:t>
        <a:bodyPr/>
        <a:lstStyle/>
        <a:p>
          <a:endParaRPr lang="ru-RU"/>
        </a:p>
      </dgm:t>
    </dgm:pt>
    <dgm:pt modelId="{7E9513C4-244C-4739-AE93-BAD2FECAEE68}">
      <dgm:prSet phldrT="[Текст]" custT="1"/>
      <dgm:spPr/>
      <dgm:t>
        <a:bodyPr/>
        <a:lstStyle/>
        <a:p>
          <a:r>
            <a:rPr lang="ru-RU" altLang="ru-RU" sz="1800" b="0" dirty="0" smtClean="0"/>
            <a:t>Доступность мед. помощи</a:t>
          </a:r>
          <a:endParaRPr lang="ru-RU" sz="1800" b="0" dirty="0"/>
        </a:p>
      </dgm:t>
    </dgm:pt>
    <dgm:pt modelId="{297F313D-4F7B-4E77-90B3-60682394A328}" type="parTrans" cxnId="{9EE895E7-3EEB-458B-8C18-FFA3A62866F4}">
      <dgm:prSet/>
      <dgm:spPr/>
      <dgm:t>
        <a:bodyPr/>
        <a:lstStyle/>
        <a:p>
          <a:endParaRPr lang="ru-RU"/>
        </a:p>
      </dgm:t>
    </dgm:pt>
    <dgm:pt modelId="{BA442EBA-43F4-4D3F-A949-C557569B5C40}" type="sibTrans" cxnId="{9EE895E7-3EEB-458B-8C18-FFA3A62866F4}">
      <dgm:prSet/>
      <dgm:spPr/>
      <dgm:t>
        <a:bodyPr/>
        <a:lstStyle/>
        <a:p>
          <a:endParaRPr lang="ru-RU"/>
        </a:p>
      </dgm:t>
    </dgm:pt>
    <dgm:pt modelId="{733B8DE8-ABFB-44AA-8917-DAA16FEEDE59}" type="pres">
      <dgm:prSet presAssocID="{343947E4-65F9-4F5B-8CE8-142786F32A61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9F2EA99-2975-4229-9B59-EA212CBA0D3C}" type="pres">
      <dgm:prSet presAssocID="{32E301BA-D0CA-4667-8B20-5BBB9E84442C}" presName="comp" presStyleCnt="0"/>
      <dgm:spPr/>
    </dgm:pt>
    <dgm:pt modelId="{3161AB3C-EF62-4257-87F2-6E7748D63124}" type="pres">
      <dgm:prSet presAssocID="{32E301BA-D0CA-4667-8B20-5BBB9E84442C}" presName="box" presStyleLbl="node1" presStyleIdx="0" presStyleCnt="6"/>
      <dgm:spPr/>
      <dgm:t>
        <a:bodyPr/>
        <a:lstStyle/>
        <a:p>
          <a:endParaRPr lang="ru-RU"/>
        </a:p>
      </dgm:t>
    </dgm:pt>
    <dgm:pt modelId="{AC6EA2CE-17A8-424A-8A66-BDDA4326B1F9}" type="pres">
      <dgm:prSet presAssocID="{32E301BA-D0CA-4667-8B20-5BBB9E84442C}" presName="img" presStyleLbl="fgImgPlace1" presStyleIdx="0" presStyleCnt="6" custLinFactNeighborX="-42288" custLinFactNeighborY="-3871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ru-RU"/>
        </a:p>
      </dgm:t>
    </dgm:pt>
    <dgm:pt modelId="{E7AFBD4E-2501-470E-8E2E-3E7674660B46}" type="pres">
      <dgm:prSet presAssocID="{32E301BA-D0CA-4667-8B20-5BBB9E84442C}" presName="text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FA1D29-B8DA-41C8-B2E2-4FAB94F62B73}" type="pres">
      <dgm:prSet presAssocID="{7F340910-A60D-4244-9287-6CE135934011}" presName="spacer" presStyleCnt="0"/>
      <dgm:spPr/>
    </dgm:pt>
    <dgm:pt modelId="{75683856-CFC8-4D64-B823-E969697CE869}" type="pres">
      <dgm:prSet presAssocID="{3EDDF0BF-385F-4555-BD88-FD34461B9C3B}" presName="comp" presStyleCnt="0"/>
      <dgm:spPr/>
    </dgm:pt>
    <dgm:pt modelId="{81A10309-8249-46FA-9694-695511929C5D}" type="pres">
      <dgm:prSet presAssocID="{3EDDF0BF-385F-4555-BD88-FD34461B9C3B}" presName="box" presStyleLbl="node1" presStyleIdx="1" presStyleCnt="6"/>
      <dgm:spPr/>
      <dgm:t>
        <a:bodyPr/>
        <a:lstStyle/>
        <a:p>
          <a:endParaRPr lang="ru-RU"/>
        </a:p>
      </dgm:t>
    </dgm:pt>
    <dgm:pt modelId="{F355B154-B285-4B46-9311-C789311F820A}" type="pres">
      <dgm:prSet presAssocID="{3EDDF0BF-385F-4555-BD88-FD34461B9C3B}" presName="img" presStyleLbl="fgImgPlace1" presStyleIdx="1" presStyleCnt="6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ru-RU"/>
        </a:p>
      </dgm:t>
    </dgm:pt>
    <dgm:pt modelId="{64791C46-A43A-46B6-B0EA-3BA58CF3C38C}" type="pres">
      <dgm:prSet presAssocID="{3EDDF0BF-385F-4555-BD88-FD34461B9C3B}" presName="text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F0DCC7-F163-4A70-8D31-04586A90B990}" type="pres">
      <dgm:prSet presAssocID="{1BF9AF5D-59DE-4135-9DC8-7874A254983C}" presName="spacer" presStyleCnt="0"/>
      <dgm:spPr/>
    </dgm:pt>
    <dgm:pt modelId="{FF6B0C97-5C82-4A9D-AB7B-2D54DF1BE74B}" type="pres">
      <dgm:prSet presAssocID="{6C7B17E0-30CF-4EB0-A9D2-5F7F44AC2973}" presName="comp" presStyleCnt="0"/>
      <dgm:spPr/>
    </dgm:pt>
    <dgm:pt modelId="{0A2587C0-9BEE-48F8-949D-E34F69F0378B}" type="pres">
      <dgm:prSet presAssocID="{6C7B17E0-30CF-4EB0-A9D2-5F7F44AC2973}" presName="box" presStyleLbl="node1" presStyleIdx="2" presStyleCnt="6"/>
      <dgm:spPr/>
      <dgm:t>
        <a:bodyPr/>
        <a:lstStyle/>
        <a:p>
          <a:endParaRPr lang="ru-RU"/>
        </a:p>
      </dgm:t>
    </dgm:pt>
    <dgm:pt modelId="{133128CB-7A8A-46A1-A79C-E41C3E13779F}" type="pres">
      <dgm:prSet presAssocID="{6C7B17E0-30CF-4EB0-A9D2-5F7F44AC2973}" presName="img" presStyleLbl="fgImgPlace1" presStyleIdx="2" presStyleCnt="6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4000" b="-4000"/>
          </a:stretch>
        </a:blipFill>
      </dgm:spPr>
      <dgm:t>
        <a:bodyPr/>
        <a:lstStyle/>
        <a:p>
          <a:endParaRPr lang="ru-RU"/>
        </a:p>
      </dgm:t>
    </dgm:pt>
    <dgm:pt modelId="{DA147B4F-56B8-4FAC-AB85-33DF08882CB5}" type="pres">
      <dgm:prSet presAssocID="{6C7B17E0-30CF-4EB0-A9D2-5F7F44AC2973}" presName="text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905153-C64B-47A6-9DAD-12F339B36605}" type="pres">
      <dgm:prSet presAssocID="{8310E70B-41D0-43A7-A8B5-77F0F633577C}" presName="spacer" presStyleCnt="0"/>
      <dgm:spPr/>
    </dgm:pt>
    <dgm:pt modelId="{E56EF4BF-19C3-4C25-979B-FABE87A0DAA3}" type="pres">
      <dgm:prSet presAssocID="{7E9513C4-244C-4739-AE93-BAD2FECAEE68}" presName="comp" presStyleCnt="0"/>
      <dgm:spPr/>
    </dgm:pt>
    <dgm:pt modelId="{C4228A7C-5670-4C20-896E-B2EA43414AAF}" type="pres">
      <dgm:prSet presAssocID="{7E9513C4-244C-4739-AE93-BAD2FECAEE68}" presName="box" presStyleLbl="node1" presStyleIdx="3" presStyleCnt="6"/>
      <dgm:spPr/>
      <dgm:t>
        <a:bodyPr/>
        <a:lstStyle/>
        <a:p>
          <a:endParaRPr lang="ru-RU"/>
        </a:p>
      </dgm:t>
    </dgm:pt>
    <dgm:pt modelId="{8E1DC914-5346-4BB4-ABAF-68E9DF1881D1}" type="pres">
      <dgm:prSet presAssocID="{7E9513C4-244C-4739-AE93-BAD2FECAEE68}" presName="img" presStyleLbl="fgImgPlace1" presStyleIdx="3" presStyleCnt="6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0000" r="-10000"/>
          </a:stretch>
        </a:blipFill>
      </dgm:spPr>
      <dgm:t>
        <a:bodyPr/>
        <a:lstStyle/>
        <a:p>
          <a:endParaRPr lang="ru-RU"/>
        </a:p>
      </dgm:t>
    </dgm:pt>
    <dgm:pt modelId="{26342F81-8A09-4809-A16C-FBF751A396D3}" type="pres">
      <dgm:prSet presAssocID="{7E9513C4-244C-4739-AE93-BAD2FECAEE68}" presName="text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74F389-A88D-498F-B382-29C8F8AA9EDE}" type="pres">
      <dgm:prSet presAssocID="{BA442EBA-43F4-4D3F-A949-C557569B5C40}" presName="spacer" presStyleCnt="0"/>
      <dgm:spPr/>
    </dgm:pt>
    <dgm:pt modelId="{CE398493-71FC-42D6-8129-359F1A618FF1}" type="pres">
      <dgm:prSet presAssocID="{798BA9FB-4797-4910-9E5A-4A0296750570}" presName="comp" presStyleCnt="0"/>
      <dgm:spPr/>
    </dgm:pt>
    <dgm:pt modelId="{68330027-D30E-4DB3-BB93-705879B0F28F}" type="pres">
      <dgm:prSet presAssocID="{798BA9FB-4797-4910-9E5A-4A0296750570}" presName="box" presStyleLbl="node1" presStyleIdx="4" presStyleCnt="6"/>
      <dgm:spPr/>
      <dgm:t>
        <a:bodyPr/>
        <a:lstStyle/>
        <a:p>
          <a:endParaRPr lang="ru-RU"/>
        </a:p>
      </dgm:t>
    </dgm:pt>
    <dgm:pt modelId="{F40716C5-74F6-4E8A-BF39-A88E7384055B}" type="pres">
      <dgm:prSet presAssocID="{798BA9FB-4797-4910-9E5A-4A0296750570}" presName="img" presStyleLbl="fgImgPlace1" presStyleIdx="4" presStyleCnt="6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2000" r="-12000"/>
          </a:stretch>
        </a:blipFill>
      </dgm:spPr>
      <dgm:t>
        <a:bodyPr/>
        <a:lstStyle/>
        <a:p>
          <a:endParaRPr lang="ru-RU"/>
        </a:p>
      </dgm:t>
    </dgm:pt>
    <dgm:pt modelId="{983FD7C5-F3F9-4E39-B6B0-D6E990C31098}" type="pres">
      <dgm:prSet presAssocID="{798BA9FB-4797-4910-9E5A-4A0296750570}" presName="text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03C67A-901E-4819-8827-39E4F53B9D4C}" type="pres">
      <dgm:prSet presAssocID="{2E363BA5-E47B-4D1B-9961-A01F318C0FC4}" presName="spacer" presStyleCnt="0"/>
      <dgm:spPr/>
    </dgm:pt>
    <dgm:pt modelId="{FDD72346-6FBB-4A1C-8CF2-CA7FE361FFA3}" type="pres">
      <dgm:prSet presAssocID="{051883DC-1857-41BD-9AD6-975DCEBA0A4B}" presName="comp" presStyleCnt="0"/>
      <dgm:spPr/>
    </dgm:pt>
    <dgm:pt modelId="{08DFF154-D0C0-4E18-A86B-27D44C6FA1FC}" type="pres">
      <dgm:prSet presAssocID="{051883DC-1857-41BD-9AD6-975DCEBA0A4B}" presName="box" presStyleLbl="node1" presStyleIdx="5" presStyleCnt="6"/>
      <dgm:spPr/>
      <dgm:t>
        <a:bodyPr/>
        <a:lstStyle/>
        <a:p>
          <a:endParaRPr lang="ru-RU"/>
        </a:p>
      </dgm:t>
    </dgm:pt>
    <dgm:pt modelId="{9D9977E6-E5EC-4A4D-BEBC-88EF700CCA4F}" type="pres">
      <dgm:prSet presAssocID="{051883DC-1857-41BD-9AD6-975DCEBA0A4B}" presName="img" presStyleLbl="fgImgPlace1" presStyleIdx="5" presStyleCnt="6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ru-RU"/>
        </a:p>
      </dgm:t>
    </dgm:pt>
    <dgm:pt modelId="{4BFD229A-025F-41AC-9599-960F403C5AA3}" type="pres">
      <dgm:prSet presAssocID="{051883DC-1857-41BD-9AD6-975DCEBA0A4B}" presName="text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E895E7-3EEB-458B-8C18-FFA3A62866F4}" srcId="{343947E4-65F9-4F5B-8CE8-142786F32A61}" destId="{7E9513C4-244C-4739-AE93-BAD2FECAEE68}" srcOrd="3" destOrd="0" parTransId="{297F313D-4F7B-4E77-90B3-60682394A328}" sibTransId="{BA442EBA-43F4-4D3F-A949-C557569B5C40}"/>
    <dgm:cxn modelId="{3A14E942-E3E6-4FF4-91B3-D71B75FFD818}" type="presOf" srcId="{3EDDF0BF-385F-4555-BD88-FD34461B9C3B}" destId="{64791C46-A43A-46B6-B0EA-3BA58CF3C38C}" srcOrd="1" destOrd="0" presId="urn:microsoft.com/office/officeart/2005/8/layout/vList4#1"/>
    <dgm:cxn modelId="{D0A3B33A-530C-4244-8C18-FF70A4666E95}" srcId="{343947E4-65F9-4F5B-8CE8-142786F32A61}" destId="{6C7B17E0-30CF-4EB0-A9D2-5F7F44AC2973}" srcOrd="2" destOrd="0" parTransId="{40E8D4ED-F09B-4D34-9C5E-48F5F6562421}" sibTransId="{8310E70B-41D0-43A7-A8B5-77F0F633577C}"/>
    <dgm:cxn modelId="{4930149E-F329-4058-9A4F-FA41C14A2DD2}" type="presOf" srcId="{051883DC-1857-41BD-9AD6-975DCEBA0A4B}" destId="{4BFD229A-025F-41AC-9599-960F403C5AA3}" srcOrd="1" destOrd="0" presId="urn:microsoft.com/office/officeart/2005/8/layout/vList4#1"/>
    <dgm:cxn modelId="{A2E2FD08-C70B-4706-80AC-4EB4CC00C7F7}" srcId="{343947E4-65F9-4F5B-8CE8-142786F32A61}" destId="{051883DC-1857-41BD-9AD6-975DCEBA0A4B}" srcOrd="5" destOrd="0" parTransId="{431F663C-9AD5-4128-B855-88BB29661139}" sibTransId="{7D8BFFEC-A08F-489E-94B7-EE8E6514E0C7}"/>
    <dgm:cxn modelId="{315A0C71-A9ED-49EB-92EF-4FED9A8ED7FF}" type="presOf" srcId="{6C7B17E0-30CF-4EB0-A9D2-5F7F44AC2973}" destId="{DA147B4F-56B8-4FAC-AB85-33DF08882CB5}" srcOrd="1" destOrd="0" presId="urn:microsoft.com/office/officeart/2005/8/layout/vList4#1"/>
    <dgm:cxn modelId="{079FF544-1CAA-49C7-A103-A26C579765D3}" type="presOf" srcId="{343947E4-65F9-4F5B-8CE8-142786F32A61}" destId="{733B8DE8-ABFB-44AA-8917-DAA16FEEDE59}" srcOrd="0" destOrd="0" presId="urn:microsoft.com/office/officeart/2005/8/layout/vList4#1"/>
    <dgm:cxn modelId="{A20FD24F-9335-4B45-811F-53AC8635B2AA}" srcId="{343947E4-65F9-4F5B-8CE8-142786F32A61}" destId="{32E301BA-D0CA-4667-8B20-5BBB9E84442C}" srcOrd="0" destOrd="0" parTransId="{9E0A400B-A6D3-4D57-9069-2D0C55D07F9A}" sibTransId="{7F340910-A60D-4244-9287-6CE135934011}"/>
    <dgm:cxn modelId="{40512357-E5E0-4391-994A-25917D49509B}" type="presOf" srcId="{051883DC-1857-41BD-9AD6-975DCEBA0A4B}" destId="{08DFF154-D0C0-4E18-A86B-27D44C6FA1FC}" srcOrd="0" destOrd="0" presId="urn:microsoft.com/office/officeart/2005/8/layout/vList4#1"/>
    <dgm:cxn modelId="{FFAE0658-A615-49D5-9FA6-6AA4C156CC74}" type="presOf" srcId="{7E9513C4-244C-4739-AE93-BAD2FECAEE68}" destId="{C4228A7C-5670-4C20-896E-B2EA43414AAF}" srcOrd="0" destOrd="0" presId="urn:microsoft.com/office/officeart/2005/8/layout/vList4#1"/>
    <dgm:cxn modelId="{0DC91B72-67B3-481F-9941-9C3422A4DCFD}" type="presOf" srcId="{32E301BA-D0CA-4667-8B20-5BBB9E84442C}" destId="{3161AB3C-EF62-4257-87F2-6E7748D63124}" srcOrd="0" destOrd="0" presId="urn:microsoft.com/office/officeart/2005/8/layout/vList4#1"/>
    <dgm:cxn modelId="{F5034B8F-338C-4AAD-B83E-15525EBFAEAA}" type="presOf" srcId="{798BA9FB-4797-4910-9E5A-4A0296750570}" destId="{68330027-D30E-4DB3-BB93-705879B0F28F}" srcOrd="0" destOrd="0" presId="urn:microsoft.com/office/officeart/2005/8/layout/vList4#1"/>
    <dgm:cxn modelId="{741F7449-DD35-4309-8FBB-BBD7C954E017}" srcId="{343947E4-65F9-4F5B-8CE8-142786F32A61}" destId="{3EDDF0BF-385F-4555-BD88-FD34461B9C3B}" srcOrd="1" destOrd="0" parTransId="{2985D8F6-7C9B-4720-9ECE-954E8EC8D965}" sibTransId="{1BF9AF5D-59DE-4135-9DC8-7874A254983C}"/>
    <dgm:cxn modelId="{0731CF7B-735B-4F42-91CE-E246EFB30829}" type="presOf" srcId="{798BA9FB-4797-4910-9E5A-4A0296750570}" destId="{983FD7C5-F3F9-4E39-B6B0-D6E990C31098}" srcOrd="1" destOrd="0" presId="urn:microsoft.com/office/officeart/2005/8/layout/vList4#1"/>
    <dgm:cxn modelId="{6E02C502-FA74-410A-A6F3-988A02C8492E}" type="presOf" srcId="{6C7B17E0-30CF-4EB0-A9D2-5F7F44AC2973}" destId="{0A2587C0-9BEE-48F8-949D-E34F69F0378B}" srcOrd="0" destOrd="0" presId="urn:microsoft.com/office/officeart/2005/8/layout/vList4#1"/>
    <dgm:cxn modelId="{59956045-E4AA-4AA7-93C0-56CC094D2A56}" type="presOf" srcId="{7E9513C4-244C-4739-AE93-BAD2FECAEE68}" destId="{26342F81-8A09-4809-A16C-FBF751A396D3}" srcOrd="1" destOrd="0" presId="urn:microsoft.com/office/officeart/2005/8/layout/vList4#1"/>
    <dgm:cxn modelId="{A623F39E-F87F-4FD5-9DDA-769BF837F101}" type="presOf" srcId="{3EDDF0BF-385F-4555-BD88-FD34461B9C3B}" destId="{81A10309-8249-46FA-9694-695511929C5D}" srcOrd="0" destOrd="0" presId="urn:microsoft.com/office/officeart/2005/8/layout/vList4#1"/>
    <dgm:cxn modelId="{A97E3E17-9449-4316-B207-E7F2DE635429}" type="presOf" srcId="{32E301BA-D0CA-4667-8B20-5BBB9E84442C}" destId="{E7AFBD4E-2501-470E-8E2E-3E7674660B46}" srcOrd="1" destOrd="0" presId="urn:microsoft.com/office/officeart/2005/8/layout/vList4#1"/>
    <dgm:cxn modelId="{233A3960-DAF8-48C4-814C-EA35D1091996}" srcId="{343947E4-65F9-4F5B-8CE8-142786F32A61}" destId="{798BA9FB-4797-4910-9E5A-4A0296750570}" srcOrd="4" destOrd="0" parTransId="{D1099BA2-F951-49D7-8859-8AD64771F1AB}" sibTransId="{2E363BA5-E47B-4D1B-9961-A01F318C0FC4}"/>
    <dgm:cxn modelId="{C54E1731-2E3E-4C49-B408-FCF955501604}" type="presParOf" srcId="{733B8DE8-ABFB-44AA-8917-DAA16FEEDE59}" destId="{99F2EA99-2975-4229-9B59-EA212CBA0D3C}" srcOrd="0" destOrd="0" presId="urn:microsoft.com/office/officeart/2005/8/layout/vList4#1"/>
    <dgm:cxn modelId="{177F7B12-EB09-4DDB-8D69-2F92309A09AD}" type="presParOf" srcId="{99F2EA99-2975-4229-9B59-EA212CBA0D3C}" destId="{3161AB3C-EF62-4257-87F2-6E7748D63124}" srcOrd="0" destOrd="0" presId="urn:microsoft.com/office/officeart/2005/8/layout/vList4#1"/>
    <dgm:cxn modelId="{033F4568-40AC-446A-A7D1-A81F8F6B4593}" type="presParOf" srcId="{99F2EA99-2975-4229-9B59-EA212CBA0D3C}" destId="{AC6EA2CE-17A8-424A-8A66-BDDA4326B1F9}" srcOrd="1" destOrd="0" presId="urn:microsoft.com/office/officeart/2005/8/layout/vList4#1"/>
    <dgm:cxn modelId="{46E5A3CF-07D0-450B-807D-92C1520C0E86}" type="presParOf" srcId="{99F2EA99-2975-4229-9B59-EA212CBA0D3C}" destId="{E7AFBD4E-2501-470E-8E2E-3E7674660B46}" srcOrd="2" destOrd="0" presId="urn:microsoft.com/office/officeart/2005/8/layout/vList4#1"/>
    <dgm:cxn modelId="{F7A87E9D-B84F-468E-9633-FA61D430850A}" type="presParOf" srcId="{733B8DE8-ABFB-44AA-8917-DAA16FEEDE59}" destId="{D8FA1D29-B8DA-41C8-B2E2-4FAB94F62B73}" srcOrd="1" destOrd="0" presId="urn:microsoft.com/office/officeart/2005/8/layout/vList4#1"/>
    <dgm:cxn modelId="{D8E20085-EB30-401D-BEB2-75092D50A8C2}" type="presParOf" srcId="{733B8DE8-ABFB-44AA-8917-DAA16FEEDE59}" destId="{75683856-CFC8-4D64-B823-E969697CE869}" srcOrd="2" destOrd="0" presId="urn:microsoft.com/office/officeart/2005/8/layout/vList4#1"/>
    <dgm:cxn modelId="{5E5D985C-27DB-42FD-B7A4-EC498CCBFCCB}" type="presParOf" srcId="{75683856-CFC8-4D64-B823-E969697CE869}" destId="{81A10309-8249-46FA-9694-695511929C5D}" srcOrd="0" destOrd="0" presId="urn:microsoft.com/office/officeart/2005/8/layout/vList4#1"/>
    <dgm:cxn modelId="{48D59DE8-C31C-4EA7-BA5B-4FDB2B56F7E8}" type="presParOf" srcId="{75683856-CFC8-4D64-B823-E969697CE869}" destId="{F355B154-B285-4B46-9311-C789311F820A}" srcOrd="1" destOrd="0" presId="urn:microsoft.com/office/officeart/2005/8/layout/vList4#1"/>
    <dgm:cxn modelId="{8258822D-FD24-4517-973C-C3B0ACF7C43B}" type="presParOf" srcId="{75683856-CFC8-4D64-B823-E969697CE869}" destId="{64791C46-A43A-46B6-B0EA-3BA58CF3C38C}" srcOrd="2" destOrd="0" presId="urn:microsoft.com/office/officeart/2005/8/layout/vList4#1"/>
    <dgm:cxn modelId="{8975DB7D-BEB6-4E53-8489-C672D32BAE81}" type="presParOf" srcId="{733B8DE8-ABFB-44AA-8917-DAA16FEEDE59}" destId="{BAF0DCC7-F163-4A70-8D31-04586A90B990}" srcOrd="3" destOrd="0" presId="urn:microsoft.com/office/officeart/2005/8/layout/vList4#1"/>
    <dgm:cxn modelId="{D871B731-B42D-42AF-93CA-B5873F54FB25}" type="presParOf" srcId="{733B8DE8-ABFB-44AA-8917-DAA16FEEDE59}" destId="{FF6B0C97-5C82-4A9D-AB7B-2D54DF1BE74B}" srcOrd="4" destOrd="0" presId="urn:microsoft.com/office/officeart/2005/8/layout/vList4#1"/>
    <dgm:cxn modelId="{F22BB86A-B69C-4485-947F-5D49E45574E3}" type="presParOf" srcId="{FF6B0C97-5C82-4A9D-AB7B-2D54DF1BE74B}" destId="{0A2587C0-9BEE-48F8-949D-E34F69F0378B}" srcOrd="0" destOrd="0" presId="urn:microsoft.com/office/officeart/2005/8/layout/vList4#1"/>
    <dgm:cxn modelId="{6CC0AE63-0500-48E6-AFB6-E679E9033E9E}" type="presParOf" srcId="{FF6B0C97-5C82-4A9D-AB7B-2D54DF1BE74B}" destId="{133128CB-7A8A-46A1-A79C-E41C3E13779F}" srcOrd="1" destOrd="0" presId="urn:microsoft.com/office/officeart/2005/8/layout/vList4#1"/>
    <dgm:cxn modelId="{174296CE-4C81-4735-8A04-7D3DFAC19165}" type="presParOf" srcId="{FF6B0C97-5C82-4A9D-AB7B-2D54DF1BE74B}" destId="{DA147B4F-56B8-4FAC-AB85-33DF08882CB5}" srcOrd="2" destOrd="0" presId="urn:microsoft.com/office/officeart/2005/8/layout/vList4#1"/>
    <dgm:cxn modelId="{17F12BCD-ABB8-4069-8CCE-CD1597EEFF14}" type="presParOf" srcId="{733B8DE8-ABFB-44AA-8917-DAA16FEEDE59}" destId="{F7905153-C64B-47A6-9DAD-12F339B36605}" srcOrd="5" destOrd="0" presId="urn:microsoft.com/office/officeart/2005/8/layout/vList4#1"/>
    <dgm:cxn modelId="{A566222E-84F7-4BB2-A688-E4EAA7E1D00C}" type="presParOf" srcId="{733B8DE8-ABFB-44AA-8917-DAA16FEEDE59}" destId="{E56EF4BF-19C3-4C25-979B-FABE87A0DAA3}" srcOrd="6" destOrd="0" presId="urn:microsoft.com/office/officeart/2005/8/layout/vList4#1"/>
    <dgm:cxn modelId="{9D0152FA-6001-49DA-8FA0-3E865D2AB1D0}" type="presParOf" srcId="{E56EF4BF-19C3-4C25-979B-FABE87A0DAA3}" destId="{C4228A7C-5670-4C20-896E-B2EA43414AAF}" srcOrd="0" destOrd="0" presId="urn:microsoft.com/office/officeart/2005/8/layout/vList4#1"/>
    <dgm:cxn modelId="{F991B61B-2786-4686-A717-0CEE28BADA58}" type="presParOf" srcId="{E56EF4BF-19C3-4C25-979B-FABE87A0DAA3}" destId="{8E1DC914-5346-4BB4-ABAF-68E9DF1881D1}" srcOrd="1" destOrd="0" presId="urn:microsoft.com/office/officeart/2005/8/layout/vList4#1"/>
    <dgm:cxn modelId="{980DD7AD-013C-4F22-A271-E500601E29AE}" type="presParOf" srcId="{E56EF4BF-19C3-4C25-979B-FABE87A0DAA3}" destId="{26342F81-8A09-4809-A16C-FBF751A396D3}" srcOrd="2" destOrd="0" presId="urn:microsoft.com/office/officeart/2005/8/layout/vList4#1"/>
    <dgm:cxn modelId="{861B62E2-9103-4BCA-9B94-C071E3C0485D}" type="presParOf" srcId="{733B8DE8-ABFB-44AA-8917-DAA16FEEDE59}" destId="{8A74F389-A88D-498F-B382-29C8F8AA9EDE}" srcOrd="7" destOrd="0" presId="urn:microsoft.com/office/officeart/2005/8/layout/vList4#1"/>
    <dgm:cxn modelId="{3A980A38-5EDB-4F38-BF95-7210943FD145}" type="presParOf" srcId="{733B8DE8-ABFB-44AA-8917-DAA16FEEDE59}" destId="{CE398493-71FC-42D6-8129-359F1A618FF1}" srcOrd="8" destOrd="0" presId="urn:microsoft.com/office/officeart/2005/8/layout/vList4#1"/>
    <dgm:cxn modelId="{002DBACF-EACC-4934-861D-A03A632FF505}" type="presParOf" srcId="{CE398493-71FC-42D6-8129-359F1A618FF1}" destId="{68330027-D30E-4DB3-BB93-705879B0F28F}" srcOrd="0" destOrd="0" presId="urn:microsoft.com/office/officeart/2005/8/layout/vList4#1"/>
    <dgm:cxn modelId="{362BAC00-08B4-4EA6-976D-4C47720D744D}" type="presParOf" srcId="{CE398493-71FC-42D6-8129-359F1A618FF1}" destId="{F40716C5-74F6-4E8A-BF39-A88E7384055B}" srcOrd="1" destOrd="0" presId="urn:microsoft.com/office/officeart/2005/8/layout/vList4#1"/>
    <dgm:cxn modelId="{BA7671A8-3B55-4740-8AEE-783A956BCF03}" type="presParOf" srcId="{CE398493-71FC-42D6-8129-359F1A618FF1}" destId="{983FD7C5-F3F9-4E39-B6B0-D6E990C31098}" srcOrd="2" destOrd="0" presId="urn:microsoft.com/office/officeart/2005/8/layout/vList4#1"/>
    <dgm:cxn modelId="{AC9C8CE3-CA8F-45A1-B392-3FC8820F719F}" type="presParOf" srcId="{733B8DE8-ABFB-44AA-8917-DAA16FEEDE59}" destId="{3003C67A-901E-4819-8827-39E4F53B9D4C}" srcOrd="9" destOrd="0" presId="urn:microsoft.com/office/officeart/2005/8/layout/vList4#1"/>
    <dgm:cxn modelId="{102B116B-2C41-439D-9BD1-956B6966B9B6}" type="presParOf" srcId="{733B8DE8-ABFB-44AA-8917-DAA16FEEDE59}" destId="{FDD72346-6FBB-4A1C-8CF2-CA7FE361FFA3}" srcOrd="10" destOrd="0" presId="urn:microsoft.com/office/officeart/2005/8/layout/vList4#1"/>
    <dgm:cxn modelId="{6F18EA11-F64A-4465-BB59-93EB57E896F0}" type="presParOf" srcId="{FDD72346-6FBB-4A1C-8CF2-CA7FE361FFA3}" destId="{08DFF154-D0C0-4E18-A86B-27D44C6FA1FC}" srcOrd="0" destOrd="0" presId="urn:microsoft.com/office/officeart/2005/8/layout/vList4#1"/>
    <dgm:cxn modelId="{D8350B15-E250-4A9C-80EF-E3BC69B12022}" type="presParOf" srcId="{FDD72346-6FBB-4A1C-8CF2-CA7FE361FFA3}" destId="{9D9977E6-E5EC-4A4D-BEBC-88EF700CCA4F}" srcOrd="1" destOrd="0" presId="urn:microsoft.com/office/officeart/2005/8/layout/vList4#1"/>
    <dgm:cxn modelId="{F7533FBD-CA9A-4852-9E65-97D7EA3AA4DA}" type="presParOf" srcId="{FDD72346-6FBB-4A1C-8CF2-CA7FE361FFA3}" destId="{4BFD229A-025F-41AC-9599-960F403C5AA3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61AB3C-EF62-4257-87F2-6E7748D63124}">
      <dsp:nvSpPr>
        <dsp:cNvPr id="0" name=""/>
        <dsp:cNvSpPr/>
      </dsp:nvSpPr>
      <dsp:spPr>
        <a:xfrm>
          <a:off x="0" y="0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Культура</a:t>
          </a:r>
          <a:endParaRPr lang="ru-RU" sz="1800" b="0" kern="1200" dirty="0"/>
        </a:p>
      </dsp:txBody>
      <dsp:txXfrm>
        <a:off x="1230015" y="0"/>
        <a:ext cx="4540968" cy="758185"/>
      </dsp:txXfrm>
    </dsp:sp>
    <dsp:sp modelId="{AC6EA2CE-17A8-424A-8A66-BDDA4326B1F9}">
      <dsp:nvSpPr>
        <dsp:cNvPr id="0" name=""/>
        <dsp:cNvSpPr/>
      </dsp:nvSpPr>
      <dsp:spPr>
        <a:xfrm>
          <a:off x="0" y="0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A10309-8249-46FA-9694-695511929C5D}">
      <dsp:nvSpPr>
        <dsp:cNvPr id="0" name=""/>
        <dsp:cNvSpPr/>
      </dsp:nvSpPr>
      <dsp:spPr>
        <a:xfrm>
          <a:off x="0" y="834004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Менеджмент</a:t>
          </a:r>
          <a:endParaRPr lang="ru-RU" sz="1800" b="0" kern="1200" dirty="0"/>
        </a:p>
      </dsp:txBody>
      <dsp:txXfrm>
        <a:off x="1230015" y="834004"/>
        <a:ext cx="4540968" cy="758185"/>
      </dsp:txXfrm>
    </dsp:sp>
    <dsp:sp modelId="{F355B154-B285-4B46-9311-C789311F820A}">
      <dsp:nvSpPr>
        <dsp:cNvPr id="0" name=""/>
        <dsp:cNvSpPr/>
      </dsp:nvSpPr>
      <dsp:spPr>
        <a:xfrm>
          <a:off x="75818" y="909822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2587C0-9BEE-48F8-949D-E34F69F0378B}">
      <dsp:nvSpPr>
        <dsp:cNvPr id="0" name=""/>
        <dsp:cNvSpPr/>
      </dsp:nvSpPr>
      <dsp:spPr>
        <a:xfrm>
          <a:off x="0" y="1668008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Кадровые проблемы</a:t>
          </a:r>
          <a:endParaRPr lang="ru-RU" sz="1800" b="0" kern="1200" dirty="0"/>
        </a:p>
      </dsp:txBody>
      <dsp:txXfrm>
        <a:off x="1230015" y="1668008"/>
        <a:ext cx="4540968" cy="758185"/>
      </dsp:txXfrm>
    </dsp:sp>
    <dsp:sp modelId="{133128CB-7A8A-46A1-A79C-E41C3E13779F}">
      <dsp:nvSpPr>
        <dsp:cNvPr id="0" name=""/>
        <dsp:cNvSpPr/>
      </dsp:nvSpPr>
      <dsp:spPr>
        <a:xfrm>
          <a:off x="75818" y="1743826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228A7C-5670-4C20-896E-B2EA43414AAF}">
      <dsp:nvSpPr>
        <dsp:cNvPr id="0" name=""/>
        <dsp:cNvSpPr/>
      </dsp:nvSpPr>
      <dsp:spPr>
        <a:xfrm>
          <a:off x="0" y="2502012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Доступность мед. помощи</a:t>
          </a:r>
          <a:endParaRPr lang="ru-RU" sz="1800" b="0" kern="1200" dirty="0"/>
        </a:p>
      </dsp:txBody>
      <dsp:txXfrm>
        <a:off x="1230015" y="2502012"/>
        <a:ext cx="4540968" cy="758185"/>
      </dsp:txXfrm>
    </dsp:sp>
    <dsp:sp modelId="{8E1DC914-5346-4BB4-ABAF-68E9DF1881D1}">
      <dsp:nvSpPr>
        <dsp:cNvPr id="0" name=""/>
        <dsp:cNvSpPr/>
      </dsp:nvSpPr>
      <dsp:spPr>
        <a:xfrm>
          <a:off x="75818" y="2577831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330027-D30E-4DB3-BB93-705879B0F28F}">
      <dsp:nvSpPr>
        <dsp:cNvPr id="0" name=""/>
        <dsp:cNvSpPr/>
      </dsp:nvSpPr>
      <dsp:spPr>
        <a:xfrm>
          <a:off x="0" y="3336016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Информатизация</a:t>
          </a:r>
        </a:p>
      </dsp:txBody>
      <dsp:txXfrm>
        <a:off x="1230015" y="3336016"/>
        <a:ext cx="4540968" cy="758185"/>
      </dsp:txXfrm>
    </dsp:sp>
    <dsp:sp modelId="{F40716C5-74F6-4E8A-BF39-A88E7384055B}">
      <dsp:nvSpPr>
        <dsp:cNvPr id="0" name=""/>
        <dsp:cNvSpPr/>
      </dsp:nvSpPr>
      <dsp:spPr>
        <a:xfrm>
          <a:off x="75818" y="3411835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DFF154-D0C0-4E18-A86B-27D44C6FA1FC}">
      <dsp:nvSpPr>
        <dsp:cNvPr id="0" name=""/>
        <dsp:cNvSpPr/>
      </dsp:nvSpPr>
      <dsp:spPr>
        <a:xfrm>
          <a:off x="0" y="4170020"/>
          <a:ext cx="5770984" cy="75818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800" b="0" kern="1200" dirty="0" smtClean="0"/>
            <a:t>Санитарно-техническое состояние</a:t>
          </a:r>
        </a:p>
      </dsp:txBody>
      <dsp:txXfrm>
        <a:off x="1230015" y="4170020"/>
        <a:ext cx="4540968" cy="758185"/>
      </dsp:txXfrm>
    </dsp:sp>
    <dsp:sp modelId="{9D9977E6-E5EC-4A4D-BEBC-88EF700CCA4F}">
      <dsp:nvSpPr>
        <dsp:cNvPr id="0" name=""/>
        <dsp:cNvSpPr/>
      </dsp:nvSpPr>
      <dsp:spPr>
        <a:xfrm>
          <a:off x="75818" y="4245839"/>
          <a:ext cx="1154196" cy="606548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Shape 96"/>
          <p:cNvSpPr>
            <a:spLocks noGrp="1" noRot="1" noChangeAspect="1"/>
          </p:cNvSpPr>
          <p:nvPr>
            <p:ph type="sldImg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7" name="Shape 97"/>
          <p:cNvSpPr>
            <a:spLocks noGrp="1"/>
          </p:cNvSpPr>
          <p:nvPr>
            <p:ph type="body" sz="quarter" idx="1"/>
          </p:nvPr>
        </p:nvSpPr>
        <p:spPr>
          <a:xfrm>
            <a:off x="901489" y="4722694"/>
            <a:ext cx="4958186" cy="4474131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1702317694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В</a:t>
            </a:r>
            <a:r>
              <a:rPr lang="ru-RU" baseline="0" dirty="0" smtClean="0"/>
              <a:t> апреле 2018 года был проведен спринт для выработки решений по повышению удовлетворенности населения. </a:t>
            </a:r>
          </a:p>
          <a:p>
            <a:r>
              <a:rPr lang="ru-RU" baseline="0" dirty="0" smtClean="0"/>
              <a:t>Была проведена диагностика, в том числе, тайный пациент. </a:t>
            </a:r>
          </a:p>
          <a:p>
            <a:r>
              <a:rPr lang="ru-RU" baseline="0" dirty="0" smtClean="0"/>
              <a:t>Обсудили причины выявленных проблем.</a:t>
            </a:r>
          </a:p>
          <a:p>
            <a:r>
              <a:rPr lang="ru-RU" baseline="0" dirty="0" smtClean="0"/>
              <a:t>В результате в дорожной карте были сформированы мероприятия по шести ключевым направлениям:</a:t>
            </a:r>
          </a:p>
          <a:p>
            <a:r>
              <a:rPr lang="ru-RU" baseline="0" dirty="0" smtClean="0"/>
              <a:t>Культура и коммуникации, доступность, кадры, информатизация, </a:t>
            </a:r>
            <a:r>
              <a:rPr lang="ru-RU" baseline="0" dirty="0" err="1" smtClean="0"/>
              <a:t>сан-тех</a:t>
            </a:r>
            <a:r>
              <a:rPr lang="ru-RU" baseline="0" dirty="0" smtClean="0"/>
              <a:t> состояние, менеджмент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/>
          <a:lstStyle/>
          <a:p>
            <a:fld id="{94E48467-D3D7-4F49-948E-BCFCB4E5E7F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sz="1600" dirty="0"/>
              <a:t>	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ируется выполнить ремонт входных групп с учетом требований бережливого производства и доступности для маломобильных групп населения, создание «открытых» регистратур, по возможности, внедрение электронной очереди, современной системы навигации. Вчера на базе поликлиники в Южном городе состоялось обсуждение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рендбук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сегодня после Коллегии мы совместно с руководителями этих учреждений еще раз обсудим, ЧТО и КАК надо сделать, чтобы получить наилучший эффект.</a:t>
            </a:r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/>
          <a:lstStyle/>
          <a:p>
            <a:fld id="{F6B47E16-AAFA-4012-938D-7D6E04DC7E91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3640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Изображение 10" descr="fon2_lines.png"/>
          <p:cNvPicPr>
            <a:picLocks noChangeAspect="1"/>
          </p:cNvPicPr>
          <p:nvPr userDrawn="1"/>
        </p:nvPicPr>
        <p:blipFill>
          <a:blip r:embed="rId2" cstate="print">
            <a:alphaModFix amt="48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7132"/>
            <a:ext cx="9144000" cy="6852285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58A7346F-9159-5940-BF04-C9E1E8C704E6}" type="datetime1">
              <a:rPr lang="ru-RU" smtClean="0"/>
              <a:pPr/>
              <a:t>16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текста</a:t>
            </a:r>
            <a:endParaRPr lang="en-US" dirty="0" smtClean="0"/>
          </a:p>
          <a:p>
            <a:pPr lvl="1"/>
            <a:r>
              <a:rPr lang="en-US" dirty="0" err="1" smtClean="0"/>
              <a:t>Второ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2"/>
            <a:r>
              <a:rPr lang="en-US" dirty="0" err="1" smtClean="0"/>
              <a:t>Трети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3"/>
            <a:r>
              <a:rPr lang="en-US" dirty="0" err="1" smtClean="0"/>
              <a:t>Четвер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en-US" dirty="0" smtClean="0"/>
          </a:p>
          <a:p>
            <a:pPr lvl="4"/>
            <a:r>
              <a:rPr lang="en-US" dirty="0" err="1" smtClean="0"/>
              <a:t>Пятый</a:t>
            </a:r>
            <a:r>
              <a:rPr lang="en-US" dirty="0" smtClean="0"/>
              <a:t> </a:t>
            </a:r>
            <a:r>
              <a:rPr lang="en-US" dirty="0" err="1" smtClean="0"/>
              <a:t>уровень</a:t>
            </a:r>
            <a:endParaRPr lang="ru-RU" dirty="0"/>
          </a:p>
        </p:txBody>
      </p:sp>
      <p:pic>
        <p:nvPicPr>
          <p:cNvPr id="13" name="image1.tif" descr="самара2"/>
          <p:cNvPicPr>
            <a:picLocks noChangeAspect="1"/>
          </p:cNvPicPr>
          <p:nvPr userDrawn="1"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7812360" y="188640"/>
            <a:ext cx="864096" cy="93915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23485118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63B53-3564-47A0-846E-E77ED33B86EB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4371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11" name="Изображение 10" descr="fon2_lines.png"/>
          <p:cNvPicPr>
            <a:picLocks noChangeAspect="1"/>
          </p:cNvPicPr>
          <p:nvPr userDrawn="1"/>
        </p:nvPicPr>
        <p:blipFill>
          <a:blip r:embed="rId2" cstate="screen">
            <a:alphaModFix amt="48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7135"/>
            <a:ext cx="9144000" cy="6852285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C3A93-0692-4016-8742-7248E2A8BF46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pic>
        <p:nvPicPr>
          <p:cNvPr id="7" name="Изображение 6" descr="BlockT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7200" y="89571"/>
            <a:ext cx="720000" cy="720000"/>
          </a:xfrm>
          <a:prstGeom prst="rect">
            <a:avLst/>
          </a:prstGeom>
        </p:spPr>
      </p:pic>
      <p:sp>
        <p:nvSpPr>
          <p:cNvPr id="16" name="Название 1"/>
          <p:cNvSpPr>
            <a:spLocks noGrp="1"/>
          </p:cNvSpPr>
          <p:nvPr>
            <p:ph type="title"/>
          </p:nvPr>
        </p:nvSpPr>
        <p:spPr>
          <a:xfrm>
            <a:off x="770244" y="695320"/>
            <a:ext cx="7916556" cy="89613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7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FFFFFF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770253" y="1607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63686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8" name="Изображение 7" descr="fon4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3"/>
            <a:ext cx="9144000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A7376-0E7B-47A0-BA97-B1A4CC4C5A6D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pic>
        <p:nvPicPr>
          <p:cNvPr id="9" name="Изображение 8" descr="BlockT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7200" y="89571"/>
            <a:ext cx="720000" cy="720000"/>
          </a:xfrm>
          <a:prstGeom prst="rect">
            <a:avLst/>
          </a:prstGeom>
        </p:spPr>
      </p:pic>
      <p:sp>
        <p:nvSpPr>
          <p:cNvPr id="13" name="Название 1"/>
          <p:cNvSpPr>
            <a:spLocks noGrp="1"/>
          </p:cNvSpPr>
          <p:nvPr>
            <p:ph type="title"/>
          </p:nvPr>
        </p:nvSpPr>
        <p:spPr>
          <a:xfrm>
            <a:off x="770244" y="695320"/>
            <a:ext cx="7916556" cy="89613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5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FFFFFF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770253" y="1607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635522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8" name="Изображение 7" descr="fon4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3"/>
            <a:ext cx="9144000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AC332-FA80-4910-8EE5-BC0308A62F3B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2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3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9840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2C09A-5C24-4CD5-8AF5-2D4C6C44444E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039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70951-3724-4DB0-8CD0-1CACE68DC2DA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97276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C40F7-A8D0-476A-8AA9-73CBF6BC1668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93843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C571D-163C-4EBA-84D1-3014B2AD9263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14677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BD9B7-5336-4CD2-BEC2-836BD8AD479F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6607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11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C8B90-9196-42A3-9CE8-8CD12ADD0A63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5441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азвание 1"/>
          <p:cNvSpPr>
            <a:spLocks noGrp="1"/>
          </p:cNvSpPr>
          <p:nvPr>
            <p:ph type="title"/>
          </p:nvPr>
        </p:nvSpPr>
        <p:spPr>
          <a:xfrm>
            <a:off x="395536" y="0"/>
            <a:ext cx="3816424" cy="826560"/>
          </a:xfr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>
              <a:defRPr sz="2800">
                <a:solidFill>
                  <a:srgbClr val="3C3C3C"/>
                </a:solidFill>
              </a:defRPr>
            </a:lvl1pPr>
          </a:lstStyle>
          <a:p>
            <a:r>
              <a:rPr lang="en-US" dirty="0" err="1" smtClean="0"/>
              <a:t>Образец</a:t>
            </a:r>
            <a:r>
              <a:rPr lang="en-US" dirty="0" smtClean="0"/>
              <a:t> </a:t>
            </a:r>
            <a:r>
              <a:rPr lang="en-US" dirty="0" err="1" smtClean="0"/>
              <a:t>заголовка</a:t>
            </a:r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272374" y="0"/>
            <a:ext cx="8871626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-21263" y="0"/>
            <a:ext cx="293638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Изображение 8" descr="fon4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31899" y="4575"/>
            <a:ext cx="304273" cy="6853428"/>
          </a:xfrm>
          <a:prstGeom prst="rect">
            <a:avLst/>
          </a:prstGeom>
        </p:spPr>
      </p:pic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72308" y="1211385"/>
            <a:ext cx="7514492" cy="4914779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850982" y="858659"/>
            <a:ext cx="7835821" cy="9892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image1.tif" descr="самара2"/>
          <p:cNvPicPr>
            <a:picLocks noChangeAspect="1"/>
          </p:cNvPicPr>
          <p:nvPr userDrawn="1"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8460432" y="188640"/>
            <a:ext cx="432049" cy="46957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6878982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87D95-F910-4E80-9FBB-0E41F511EF72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64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FFDFB-648F-4ABE-905A-C0AEF0A06A1C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95512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52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5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D696C-DCA0-499B-8506-17FD9CEACB05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68811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0"/>
          <a:ext cx="161925" cy="161925"/>
        </p:xfrm>
        <a:graphic>
          <a:graphicData uri="http://schemas.openxmlformats.org/presentationml/2006/ole">
            <p:oleObj spid="_x0000_s16394" name="think-cell Slide" r:id="rId4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030231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3F57C-8FDC-4ADF-81CF-928B5C461A70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4607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13" y="178407"/>
            <a:ext cx="6488723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73A1-304D-4757-BBAF-0FE5F638D1AD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57200" y="1014736"/>
            <a:ext cx="82296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072150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ECEA5-F7AD-43FF-99C0-7060050820F4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6985150" y="290081"/>
            <a:ext cx="1701650" cy="449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Название 1"/>
          <p:cNvSpPr txBox="1">
            <a:spLocks/>
          </p:cNvSpPr>
          <p:nvPr userDrawn="1"/>
        </p:nvSpPr>
        <p:spPr>
          <a:xfrm>
            <a:off x="996595" y="889336"/>
            <a:ext cx="7690207" cy="8961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404040"/>
                </a:solidFill>
                <a:latin typeface="Corbel"/>
                <a:ea typeface="+mj-ea"/>
                <a:cs typeface="Corbel"/>
              </a:defRPr>
            </a:lvl1pPr>
          </a:lstStyle>
          <a:p>
            <a:endParaRPr lang="ru-RU" sz="2800" b="1" dirty="0"/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122319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10" descr="BlockT_logo_backgroun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44167" y="89571"/>
            <a:ext cx="626087" cy="720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3DD49-9826-49F9-A652-BA85C34C6FC1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613722" y="567712"/>
            <a:ext cx="7916556" cy="896133"/>
          </a:xfrm>
        </p:spPr>
        <p:txBody>
          <a:bodyPr/>
          <a:lstStyle>
            <a:lvl1pPr>
              <a:defRPr>
                <a:solidFill>
                  <a:srgbClr val="3C3C3C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0C627B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770253" y="1353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8125103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850983" y="0"/>
            <a:ext cx="8293021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-21262" y="0"/>
            <a:ext cx="637951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9" name="Изображение 8" descr="fon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31897" y="4575"/>
            <a:ext cx="637953" cy="6853428"/>
          </a:xfrm>
          <a:prstGeom prst="rect">
            <a:avLst/>
          </a:prstGeom>
        </p:spPr>
      </p:pic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172308" y="188049"/>
            <a:ext cx="5656384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72308" y="1211385"/>
            <a:ext cx="7514492" cy="4914779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72308" y="6356364"/>
            <a:ext cx="1418492" cy="365125"/>
          </a:xfrm>
        </p:spPr>
        <p:txBody>
          <a:bodyPr/>
          <a:lstStyle/>
          <a:p>
            <a:fld id="{AFB912FD-7568-4A76-8B5D-700C109EF2D7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850982" y="541159"/>
            <a:ext cx="7835821" cy="9892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23306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850983" y="0"/>
            <a:ext cx="8293021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4" y="0"/>
            <a:ext cx="850979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9" name="Изображение 8" descr="fon4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" y="3"/>
            <a:ext cx="850979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72308" y="6356364"/>
            <a:ext cx="1418492" cy="365125"/>
          </a:xfrm>
        </p:spPr>
        <p:txBody>
          <a:bodyPr/>
          <a:lstStyle/>
          <a:p>
            <a:fld id="{D3B63452-937F-4CEC-ABE8-66076C3E3D42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0" name="Название 1"/>
          <p:cNvSpPr>
            <a:spLocks noGrp="1"/>
          </p:cNvSpPr>
          <p:nvPr>
            <p:ph type="title"/>
          </p:nvPr>
        </p:nvSpPr>
        <p:spPr>
          <a:xfrm>
            <a:off x="1172308" y="188049"/>
            <a:ext cx="7514492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idx="1"/>
          </p:nvPr>
        </p:nvSpPr>
        <p:spPr>
          <a:xfrm>
            <a:off x="1172308" y="1211385"/>
            <a:ext cx="7514492" cy="4914779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563708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3F57C-8FDC-4ADF-81CF-928B5C461A70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18209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16" name="Изображение 15" descr="fon2_lines.png"/>
          <p:cNvPicPr>
            <a:picLocks noChangeAspect="1"/>
          </p:cNvPicPr>
          <p:nvPr userDrawn="1"/>
        </p:nvPicPr>
        <p:blipFill>
          <a:blip r:embed="rId2" cstate="screen">
            <a:alphaModFix amt="48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7135"/>
            <a:ext cx="9144000" cy="6852285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7DD59-C2A4-4D55-895A-41D704E2E07E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1" name="Название 1"/>
          <p:cNvSpPr>
            <a:spLocks noGrp="1"/>
          </p:cNvSpPr>
          <p:nvPr>
            <p:ph type="title"/>
          </p:nvPr>
        </p:nvSpPr>
        <p:spPr>
          <a:xfrm>
            <a:off x="457213" y="178407"/>
            <a:ext cx="6488723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5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863780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63B53-3564-47A0-846E-E77ED33B86EB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0587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11" name="Изображение 10" descr="fon2_lines.png"/>
          <p:cNvPicPr>
            <a:picLocks noChangeAspect="1"/>
          </p:cNvPicPr>
          <p:nvPr userDrawn="1"/>
        </p:nvPicPr>
        <p:blipFill>
          <a:blip r:embed="rId2" cstate="screen">
            <a:alphaModFix amt="48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7135"/>
            <a:ext cx="9144000" cy="6852285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C3A93-0692-4016-8742-7248E2A8BF46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pic>
        <p:nvPicPr>
          <p:cNvPr id="7" name="Изображение 6" descr="BlockT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7200" y="89571"/>
            <a:ext cx="720000" cy="720000"/>
          </a:xfrm>
          <a:prstGeom prst="rect">
            <a:avLst/>
          </a:prstGeom>
        </p:spPr>
      </p:pic>
      <p:sp>
        <p:nvSpPr>
          <p:cNvPr id="16" name="Название 1"/>
          <p:cNvSpPr>
            <a:spLocks noGrp="1"/>
          </p:cNvSpPr>
          <p:nvPr>
            <p:ph type="title"/>
          </p:nvPr>
        </p:nvSpPr>
        <p:spPr>
          <a:xfrm>
            <a:off x="770244" y="695320"/>
            <a:ext cx="7916556" cy="89613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7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FFFFFF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770253" y="1607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402559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8" name="Изображение 7" descr="fon4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3"/>
            <a:ext cx="9144000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1A7376-0E7B-47A0-BA97-B1A4CC4C5A6D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pic>
        <p:nvPicPr>
          <p:cNvPr id="9" name="Изображение 8" descr="BlockT_logo_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97200" y="89571"/>
            <a:ext cx="720000" cy="720000"/>
          </a:xfrm>
          <a:prstGeom prst="rect">
            <a:avLst/>
          </a:prstGeom>
        </p:spPr>
      </p:pic>
      <p:sp>
        <p:nvSpPr>
          <p:cNvPr id="13" name="Название 1"/>
          <p:cNvSpPr>
            <a:spLocks noGrp="1"/>
          </p:cNvSpPr>
          <p:nvPr>
            <p:ph type="title"/>
          </p:nvPr>
        </p:nvSpPr>
        <p:spPr>
          <a:xfrm>
            <a:off x="770244" y="695320"/>
            <a:ext cx="7916556" cy="89613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5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FFFFFF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770253" y="1607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866123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8" name="Изображение 7" descr="fon4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3"/>
            <a:ext cx="9144000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AC332-FA80-4910-8EE5-BC0308A62F3B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2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3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189092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12C09A-5C24-4CD5-8AF5-2D4C6C44444E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04546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70951-3724-4DB0-8CD0-1CACE68DC2DA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64390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C40F7-A8D0-476A-8AA9-73CBF6BC1668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30402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C571D-163C-4EBA-84D1-3014B2AD9263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23960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BD9B7-5336-4CD2-BEC2-836BD8AD479F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74231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13" y="178407"/>
            <a:ext cx="6488723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373A1-304D-4757-BBAF-0FE5F638D1AD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57200" y="1014736"/>
            <a:ext cx="8229600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383993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11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C8B90-9196-42A3-9CE8-8CD12ADD0A63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61129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D87D95-F910-4E80-9FBB-0E41F511EF72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41140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FFDFB-648F-4ABE-905A-C0AEF0A06A1C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39185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52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52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CD696C-DCA0-499B-8506-17FD9CEACB05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72765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0"/>
          <a:ext cx="161925" cy="161925"/>
        </p:xfrm>
        <a:graphic>
          <a:graphicData uri="http://schemas.openxmlformats.org/presentationml/2006/ole">
            <p:oleObj spid="_x0000_s17418" name="think-cell Slide" r:id="rId4" imgW="360" imgH="3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005063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ECEA5-F7AD-43FF-99C0-7060050820F4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6985150" y="290081"/>
            <a:ext cx="1701650" cy="4494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Название 1"/>
          <p:cNvSpPr txBox="1">
            <a:spLocks/>
          </p:cNvSpPr>
          <p:nvPr userDrawn="1"/>
        </p:nvSpPr>
        <p:spPr>
          <a:xfrm>
            <a:off x="996595" y="889336"/>
            <a:ext cx="7690207" cy="8961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rgbClr val="404040"/>
                </a:solidFill>
                <a:latin typeface="Corbel"/>
                <a:ea typeface="+mj-ea"/>
                <a:cs typeface="Corbel"/>
              </a:defRPr>
            </a:lvl1pPr>
          </a:lstStyle>
          <a:p>
            <a:endParaRPr lang="ru-RU" sz="2800" b="1" dirty="0"/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457205" y="178407"/>
            <a:ext cx="8229599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56162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10" descr="BlockT_logo_backgroun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44167" y="89571"/>
            <a:ext cx="626087" cy="720000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73DD49-9826-49F9-A652-BA85C34C6FC1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9" name="Название 1"/>
          <p:cNvSpPr>
            <a:spLocks noGrp="1"/>
          </p:cNvSpPr>
          <p:nvPr>
            <p:ph type="title"/>
          </p:nvPr>
        </p:nvSpPr>
        <p:spPr>
          <a:xfrm>
            <a:off x="613722" y="567712"/>
            <a:ext cx="7916556" cy="896133"/>
          </a:xfrm>
        </p:spPr>
        <p:txBody>
          <a:bodyPr/>
          <a:lstStyle>
            <a:lvl1pPr>
              <a:defRPr>
                <a:solidFill>
                  <a:srgbClr val="3C3C3C"/>
                </a:solidFill>
                <a:latin typeface="Corbel"/>
                <a:cs typeface="Corbel"/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0" name="Содержимое 2"/>
          <p:cNvSpPr>
            <a:spLocks noGrp="1"/>
          </p:cNvSpPr>
          <p:nvPr>
            <p:ph idx="1"/>
          </p:nvPr>
        </p:nvSpPr>
        <p:spPr>
          <a:xfrm>
            <a:off x="770244" y="1797985"/>
            <a:ext cx="7916556" cy="4328185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770244" y="275656"/>
            <a:ext cx="20646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hangingPunct="1"/>
            <a:r>
              <a:rPr lang="ru-RU" sz="2000" kern="1200" dirty="0">
                <a:solidFill>
                  <a:srgbClr val="0C627B"/>
                </a:solidFill>
                <a:latin typeface="Corbel"/>
                <a:ea typeface="+mn-ea"/>
                <a:cs typeface="Corbel"/>
              </a:rPr>
              <a:t>Блок Технологии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770253" y="1353772"/>
            <a:ext cx="7916557" cy="0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868062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850983" y="0"/>
            <a:ext cx="8293021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-21262" y="0"/>
            <a:ext cx="637951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9" name="Изображение 8" descr="fon4.pn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31897" y="4575"/>
            <a:ext cx="637953" cy="6853428"/>
          </a:xfrm>
          <a:prstGeom prst="rect">
            <a:avLst/>
          </a:prstGeom>
        </p:spPr>
      </p:pic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172308" y="188049"/>
            <a:ext cx="5656384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72308" y="1211385"/>
            <a:ext cx="7514492" cy="4914779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72308" y="6356364"/>
            <a:ext cx="1418492" cy="365125"/>
          </a:xfrm>
        </p:spPr>
        <p:txBody>
          <a:bodyPr/>
          <a:lstStyle/>
          <a:p>
            <a:fld id="{AFB912FD-7568-4A76-8B5D-700C109EF2D7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850982" y="541159"/>
            <a:ext cx="7835821" cy="9892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8274944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850983" y="0"/>
            <a:ext cx="8293021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4" y="0"/>
            <a:ext cx="850979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9" name="Изображение 8" descr="fon4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" y="3"/>
            <a:ext cx="850979" cy="6853428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172308" y="6356364"/>
            <a:ext cx="1418492" cy="365125"/>
          </a:xfrm>
        </p:spPr>
        <p:txBody>
          <a:bodyPr/>
          <a:lstStyle/>
          <a:p>
            <a:fld id="{D3B63452-937F-4CEC-ABE8-66076C3E3D42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0" name="Название 1"/>
          <p:cNvSpPr>
            <a:spLocks noGrp="1"/>
          </p:cNvSpPr>
          <p:nvPr>
            <p:ph type="title"/>
          </p:nvPr>
        </p:nvSpPr>
        <p:spPr>
          <a:xfrm>
            <a:off x="1172308" y="188049"/>
            <a:ext cx="7514492" cy="82656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2" name="Содержимое 2"/>
          <p:cNvSpPr>
            <a:spLocks noGrp="1"/>
          </p:cNvSpPr>
          <p:nvPr>
            <p:ph idx="1"/>
          </p:nvPr>
        </p:nvSpPr>
        <p:spPr>
          <a:xfrm>
            <a:off x="1172308" y="1211385"/>
            <a:ext cx="7514492" cy="4914779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>
              <a:defRPr>
                <a:solidFill>
                  <a:srgbClr val="3C3C3C"/>
                </a:solidFill>
              </a:defRPr>
            </a:lvl2pPr>
            <a:lvl3pPr>
              <a:defRPr>
                <a:solidFill>
                  <a:srgbClr val="3C3C3C"/>
                </a:solidFill>
              </a:defRPr>
            </a:lvl3pPr>
            <a:lvl4pPr>
              <a:defRPr>
                <a:solidFill>
                  <a:srgbClr val="3C3C3C"/>
                </a:solidFill>
              </a:defRPr>
            </a:lvl4pPr>
            <a:lvl5pP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976979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>
            <a:gsLst>
              <a:gs pos="100000">
                <a:srgbClr val="0C627B"/>
              </a:gs>
              <a:gs pos="0">
                <a:srgbClr val="001419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16" name="Изображение 15" descr="fon2_lines.png"/>
          <p:cNvPicPr>
            <a:picLocks noChangeAspect="1"/>
          </p:cNvPicPr>
          <p:nvPr userDrawn="1"/>
        </p:nvPicPr>
        <p:blipFill>
          <a:blip r:embed="rId2" cstate="screen">
            <a:alphaModFix amt="48000"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7135"/>
            <a:ext cx="9144000" cy="6852285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7DD59-C2A4-4D55-895A-41D704E2E07E}" type="datetime1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16.11.2018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1" name="Название 1"/>
          <p:cNvSpPr>
            <a:spLocks noGrp="1"/>
          </p:cNvSpPr>
          <p:nvPr>
            <p:ph type="title"/>
          </p:nvPr>
        </p:nvSpPr>
        <p:spPr>
          <a:xfrm>
            <a:off x="457213" y="178407"/>
            <a:ext cx="6488723" cy="82656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15" name="Содержимое 2"/>
          <p:cNvSpPr>
            <a:spLocks noGrp="1"/>
          </p:cNvSpPr>
          <p:nvPr>
            <p:ph idx="1"/>
          </p:nvPr>
        </p:nvSpPr>
        <p:spPr>
          <a:xfrm>
            <a:off x="457200" y="1221156"/>
            <a:ext cx="8229600" cy="4905011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32751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-1" y="6597352"/>
            <a:ext cx="6012162" cy="1"/>
          </a:xfrm>
          <a:prstGeom prst="line">
            <a:avLst/>
          </a:prstGeom>
          <a:ln w="63500">
            <a:solidFill>
              <a:srgbClr val="0070C1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3" name="Shape 3"/>
          <p:cNvSpPr/>
          <p:nvPr/>
        </p:nvSpPr>
        <p:spPr>
          <a:xfrm>
            <a:off x="2051719" y="6597352"/>
            <a:ext cx="5976665" cy="264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r>
              <a:t>Министерство экономического развития и инвестиций Самарской области</a:t>
            </a:r>
          </a:p>
        </p:txBody>
      </p:sp>
      <p:sp>
        <p:nvSpPr>
          <p:cNvPr id="4" name="Shape 4"/>
          <p:cNvSpPr/>
          <p:nvPr/>
        </p:nvSpPr>
        <p:spPr>
          <a:xfrm>
            <a:off x="6012160" y="6597352"/>
            <a:ext cx="3131841" cy="1"/>
          </a:xfrm>
          <a:prstGeom prst="line">
            <a:avLst/>
          </a:prstGeom>
          <a:ln w="63500">
            <a:solidFill>
              <a:srgbClr val="FF0000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5" name="Shape 5"/>
          <p:cNvSpPr/>
          <p:nvPr/>
        </p:nvSpPr>
        <p:spPr>
          <a:xfrm>
            <a:off x="0" y="-27384"/>
            <a:ext cx="9144000" cy="764705"/>
          </a:xfrm>
          <a:prstGeom prst="rect">
            <a:avLst/>
          </a:prstGeom>
          <a:solidFill>
            <a:srgbClr val="0070C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>
            <a:lvl1pPr indent="450000" algn="ctr">
              <a:defRPr sz="4400">
                <a:solidFill>
                  <a:srgbClr val="FFFFFF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pic>
        <p:nvPicPr>
          <p:cNvPr id="6" name="image1.png" descr="самара2"/>
          <p:cNvPicPr>
            <a:picLocks noChangeAspect="1"/>
          </p:cNvPicPr>
          <p:nvPr/>
        </p:nvPicPr>
        <p:blipFill>
          <a:blip r:embed="rId4" cstate="print">
            <a:extLst/>
          </a:blip>
          <a:stretch>
            <a:fillRect/>
          </a:stretch>
        </p:blipFill>
        <p:spPr>
          <a:xfrm>
            <a:off x="107504" y="44623"/>
            <a:ext cx="576065" cy="626105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8172399" y="6652002"/>
            <a:ext cx="245404" cy="226986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b">
            <a:spAutoFit/>
          </a:bodyPr>
          <a:lstStyle>
            <a:lvl1pPr>
              <a:defRPr sz="1000">
                <a:solidFill>
                  <a:srgbClr val="80808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8" name="Shape 8"/>
          <p:cNvSpPr>
            <a:spLocks noGrp="1"/>
          </p:cNvSpPr>
          <p:nvPr>
            <p:ph type="body" idx="1"/>
          </p:nvPr>
        </p:nvSpPr>
        <p:spPr>
          <a:xfrm>
            <a:off x="468312" y="981075"/>
            <a:ext cx="8424863" cy="54006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" name="Shape 9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1"/>
          </a:xfrm>
          <a:prstGeom prst="rect">
            <a:avLst/>
          </a:prstGeom>
          <a:solidFill>
            <a:srgbClr val="0070C1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Текст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transition spd="med"/>
  <p:txStyles>
    <p:titleStyle>
      <a:lvl1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1pPr>
      <a:lvl2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2pPr>
      <a:lvl3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3pPr>
      <a:lvl4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4pPr>
      <a:lvl5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5pPr>
      <a:lvl6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7pPr>
      <a:lvl8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8pPr>
      <a:lvl9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 descr="fon2_lines.png"/>
          <p:cNvPicPr>
            <a:picLocks noChangeAspect="1"/>
          </p:cNvPicPr>
          <p:nvPr userDrawn="1"/>
        </p:nvPicPr>
        <p:blipFill>
          <a:blip r:embed="rId23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9769"/>
            <a:ext cx="9144000" cy="68522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44333"/>
            <a:ext cx="8229600" cy="8265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92051"/>
            <a:ext cx="8229600" cy="4404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fld id="{782B54B8-AF84-4723-8055-ED3923617178}" type="datetime1">
              <a:rPr lang="ru-RU" kern="1200" smtClean="0">
                <a:solidFill>
                  <a:srgbClr val="3C3C3C">
                    <a:tint val="75000"/>
                  </a:srgbClr>
                </a:solidFill>
                <a:ea typeface="+mn-ea"/>
              </a:rPr>
              <a:pPr defTabSz="457200" hangingPunct="1"/>
              <a:t>16.11.2018</a:t>
            </a:fld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fld id="{88120542-0554-8B47-960E-223CB1374193}" type="slidenum">
              <a:rPr lang="ru-RU" kern="1200" smtClean="0">
                <a:solidFill>
                  <a:srgbClr val="3C3C3C">
                    <a:tint val="75000"/>
                  </a:srgbClr>
                </a:solidFill>
                <a:ea typeface="+mn-ea"/>
              </a:rPr>
              <a:pPr defTabSz="457200" hangingPunct="1"/>
              <a:t>‹#›</a:t>
            </a:fld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7595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rgbClr val="404040"/>
          </a:solidFill>
          <a:latin typeface="Corbel"/>
          <a:ea typeface="+mj-ea"/>
          <a:cs typeface="Corbe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Wingdings" charset="2"/>
        <a:buChar char="§"/>
        <a:defRPr sz="3200" kern="1200">
          <a:solidFill>
            <a:srgbClr val="404040"/>
          </a:solidFill>
          <a:latin typeface="Corbel"/>
          <a:ea typeface="+mn-ea"/>
          <a:cs typeface="Corbe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404040"/>
          </a:solidFill>
          <a:latin typeface="Corbel"/>
          <a:ea typeface="+mn-ea"/>
          <a:cs typeface="Corbel"/>
        </a:defRPr>
      </a:lvl2pPr>
      <a:lvl3pPr marL="1143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400" kern="1200">
          <a:solidFill>
            <a:srgbClr val="404040"/>
          </a:solidFill>
          <a:latin typeface="Corbel"/>
          <a:ea typeface="+mn-ea"/>
          <a:cs typeface="Corbe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404040"/>
          </a:solidFill>
          <a:latin typeface="Corbel"/>
          <a:ea typeface="+mn-ea"/>
          <a:cs typeface="Corbe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404040"/>
          </a:solidFill>
          <a:latin typeface="Corbel"/>
          <a:ea typeface="+mn-ea"/>
          <a:cs typeface="Corbe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 descr="fon2_lines.png"/>
          <p:cNvPicPr>
            <a:picLocks noChangeAspect="1"/>
          </p:cNvPicPr>
          <p:nvPr userDrawn="1"/>
        </p:nvPicPr>
        <p:blipFill>
          <a:blip r:embed="rId23" cstate="screen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9769"/>
            <a:ext cx="9144000" cy="68522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44333"/>
            <a:ext cx="8229600" cy="8265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92051"/>
            <a:ext cx="8229600" cy="44048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fld id="{782B54B8-AF84-4723-8055-ED3923617178}" type="datetime1">
              <a:rPr lang="ru-RU" kern="1200" smtClean="0">
                <a:solidFill>
                  <a:srgbClr val="3C3C3C">
                    <a:tint val="75000"/>
                  </a:srgbClr>
                </a:solidFill>
                <a:ea typeface="+mn-ea"/>
              </a:rPr>
              <a:pPr defTabSz="457200" hangingPunct="1"/>
              <a:t>16.11.2018</a:t>
            </a:fld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orbel"/>
                <a:cs typeface="Corbel"/>
              </a:defRPr>
            </a:lvl1pPr>
          </a:lstStyle>
          <a:p>
            <a:pPr defTabSz="457200" hangingPunct="1"/>
            <a:fld id="{88120542-0554-8B47-960E-223CB1374193}" type="slidenum">
              <a:rPr lang="ru-RU" kern="1200" smtClean="0">
                <a:solidFill>
                  <a:srgbClr val="3C3C3C">
                    <a:tint val="75000"/>
                  </a:srgbClr>
                </a:solidFill>
                <a:ea typeface="+mn-ea"/>
              </a:rPr>
              <a:pPr defTabSz="457200" hangingPunct="1"/>
              <a:t>‹#›</a:t>
            </a:fld>
            <a:endParaRPr lang="ru-RU" kern="1200" dirty="0">
              <a:solidFill>
                <a:srgbClr val="3C3C3C">
                  <a:tint val="75000"/>
                </a:srgbClr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8763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  <p:sldLayoutId id="2147483749" r:id="rId16"/>
    <p:sldLayoutId id="2147483750" r:id="rId17"/>
    <p:sldLayoutId id="2147483751" r:id="rId18"/>
    <p:sldLayoutId id="2147483752" r:id="rId19"/>
    <p:sldLayoutId id="2147483753" r:id="rId20"/>
    <p:sldLayoutId id="2147483754" r:id="rId2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rgbClr val="404040"/>
          </a:solidFill>
          <a:latin typeface="Corbel"/>
          <a:ea typeface="+mj-ea"/>
          <a:cs typeface="Corbe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Wingdings" charset="2"/>
        <a:buChar char="§"/>
        <a:defRPr sz="3200" kern="1200">
          <a:solidFill>
            <a:srgbClr val="404040"/>
          </a:solidFill>
          <a:latin typeface="Corbel"/>
          <a:ea typeface="+mn-ea"/>
          <a:cs typeface="Corbe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404040"/>
          </a:solidFill>
          <a:latin typeface="Corbel"/>
          <a:ea typeface="+mn-ea"/>
          <a:cs typeface="Corbel"/>
        </a:defRPr>
      </a:lvl2pPr>
      <a:lvl3pPr marL="1143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2400" kern="1200">
          <a:solidFill>
            <a:srgbClr val="404040"/>
          </a:solidFill>
          <a:latin typeface="Corbel"/>
          <a:ea typeface="+mn-ea"/>
          <a:cs typeface="Corbe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404040"/>
          </a:solidFill>
          <a:latin typeface="Corbel"/>
          <a:ea typeface="+mn-ea"/>
          <a:cs typeface="Corbe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404040"/>
          </a:solidFill>
          <a:latin typeface="Corbel"/>
          <a:ea typeface="+mn-ea"/>
          <a:cs typeface="Corbe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5" Type="http://schemas.openxmlformats.org/officeDocument/2006/relationships/image" Target="../media/image37.tiff"/><Relationship Id="rId4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pn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microsoft.com/office/2007/relationships/hdphoto" Target="../media/hdphoto2.wdp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package" Target="../embeddings/_________Microsoft_Office_Word1.docx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520" y="1556792"/>
            <a:ext cx="856895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dirty="0" smtClean="0">
                <a:solidFill>
                  <a:schemeClr val="bg1"/>
                </a:solidFill>
              </a:rPr>
              <a:t>Лучшие практики </a:t>
            </a:r>
          </a:p>
          <a:p>
            <a:pPr algn="ctr"/>
            <a:r>
              <a:rPr lang="ru-RU" sz="4000" dirty="0" smtClean="0">
                <a:solidFill>
                  <a:schemeClr val="bg1"/>
                </a:solidFill>
              </a:rPr>
              <a:t>менеджмента в стиле </a:t>
            </a:r>
            <a:r>
              <a:rPr lang="en-GB" sz="4000" dirty="0" smtClean="0">
                <a:solidFill>
                  <a:schemeClr val="bg1"/>
                </a:solidFill>
              </a:rPr>
              <a:t>Lean</a:t>
            </a:r>
            <a:r>
              <a:rPr lang="ru-RU" sz="4000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4000" dirty="0" smtClean="0">
                <a:solidFill>
                  <a:schemeClr val="bg1"/>
                </a:solidFill>
              </a:rPr>
              <a:t>в учреждениях здравоохранения Самарской области</a:t>
            </a:r>
            <a:endParaRPr lang="ru-RU" sz="4000" dirty="0">
              <a:solidFill>
                <a:schemeClr val="bg1"/>
              </a:solidFill>
            </a:endParaRPr>
          </a:p>
        </p:txBody>
      </p:sp>
      <p:sp>
        <p:nvSpPr>
          <p:cNvPr id="4" name="Текст 1"/>
          <p:cNvSpPr txBox="1">
            <a:spLocks/>
          </p:cNvSpPr>
          <p:nvPr/>
        </p:nvSpPr>
        <p:spPr>
          <a:xfrm>
            <a:off x="395536" y="4797152"/>
            <a:ext cx="5544616" cy="12680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 fontScale="47500" lnSpcReduction="2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ГОМЖИНА АННА ВЛАДИМИРОВНА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tabLst/>
              <a:defRPr/>
            </a:pPr>
            <a: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      Руководитель управления разработки государственных программ и приоритетных проектов в сфере здравоохранения министерства здравоохранения Самарской област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pP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7920880" cy="826560"/>
          </a:xfrm>
        </p:spPr>
        <p:txBody>
          <a:bodyPr>
            <a:no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Проект </a:t>
            </a: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«Бережливая 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поликлиника» финансирование: </a:t>
            </a: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/>
            </a:r>
            <a:b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</a:b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63,5 млн руб. на 13 ЛПУ – входные  группы, доступная среда, информатизация, навигация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75106" y="2492896"/>
            <a:ext cx="2910923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66E1E2E6-932E-49E2-B9A0-D2494482C6E8}"/>
              </a:ext>
            </a:extLst>
          </p:cNvPr>
          <p:cNvSpPr/>
          <p:nvPr/>
        </p:nvSpPr>
        <p:spPr>
          <a:xfrm>
            <a:off x="2267744" y="1196752"/>
            <a:ext cx="3786214" cy="5000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r>
              <a:rPr lang="ru-RU" b="1" kern="1200" dirty="0" smtClean="0">
                <a:solidFill>
                  <a:prstClr val="white"/>
                </a:solidFill>
              </a:rPr>
              <a:t>Совместная  Коллегия 18.05.2018</a:t>
            </a:r>
            <a:endParaRPr lang="ru-RU" b="1" kern="1200" dirty="0">
              <a:solidFill>
                <a:prstClr val="white"/>
              </a:solidFill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4429124" y="4071942"/>
            <a:ext cx="216024" cy="3084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>
            <a:off x="7286644" y="3857628"/>
            <a:ext cx="288032" cy="4920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hangingPunct="1"/>
            <a:endParaRPr lang="ru-RU" kern="1200">
              <a:solidFill>
                <a:prstClr val="white"/>
              </a:solidFill>
            </a:endParaRPr>
          </a:p>
        </p:txBody>
      </p:sp>
      <p:pic>
        <p:nvPicPr>
          <p:cNvPr id="26" name="Содержимое 9" descr="IMG_20171125_13273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707904" y="2348880"/>
            <a:ext cx="2196244" cy="1647183"/>
          </a:xfrm>
          <a:prstGeom prst="rect">
            <a:avLst/>
          </a:prstGeom>
        </p:spPr>
      </p:pic>
      <p:pic>
        <p:nvPicPr>
          <p:cNvPr id="27" name="Picture 2" descr="C:\Users\boyko\Desktop\Проект Бережливая поликлиника ГБУЗ СО ТГП №4\Раздел КАПИТАЛЬНЫЙ РЕМОНТ\3Д модель холла.t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28992" y="4357694"/>
            <a:ext cx="3006321" cy="1659034"/>
          </a:xfrm>
          <a:prstGeom prst="rect">
            <a:avLst/>
          </a:prstGeom>
          <a:noFill/>
        </p:spPr>
      </p:pic>
      <p:pic>
        <p:nvPicPr>
          <p:cNvPr id="28" name="Рисунок 27" descr="Фасад оригинал_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215074" y="2357430"/>
            <a:ext cx="2544777" cy="1431438"/>
          </a:xfrm>
          <a:prstGeom prst="rect">
            <a:avLst/>
          </a:prstGeom>
        </p:spPr>
      </p:pic>
      <p:pic>
        <p:nvPicPr>
          <p:cNvPr id="29" name="Picture 3" descr="C:\Users\boyko\Desktop\Проект Бережливая поликлиника ГБУЗ СО ТГП №4\Раздел КАПИТАЛЬНЫЙ РЕМОНТ\фасад 1_1 обрез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5849" y="4357694"/>
            <a:ext cx="3028151" cy="1637218"/>
          </a:xfrm>
          <a:prstGeom prst="rect">
            <a:avLst/>
          </a:prstGeom>
          <a:noFill/>
        </p:spPr>
      </p:pic>
      <p:pic>
        <p:nvPicPr>
          <p:cNvPr id="16" name="Picture 3" descr="C:\Users\user\Downloads\6380fdd4bb2ade999e6ba4c7a124d28e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4091"/>
          <a:stretch/>
        </p:blipFill>
        <p:spPr bwMode="auto">
          <a:xfrm>
            <a:off x="1360520" y="4226142"/>
            <a:ext cx="1814447" cy="1174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9919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136904" cy="826560"/>
          </a:xfrm>
        </p:spPr>
        <p:txBody>
          <a:bodyPr>
            <a:no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Разработан единый </a:t>
            </a:r>
            <a:r>
              <a:rPr lang="ru-RU" sz="2000" b="1" kern="1200" dirty="0" err="1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брендбук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 (единый  стиль</a:t>
            </a: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) для учреждений здравоохранения, оказывающих первичную медико-санитарную 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помощь 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pic>
        <p:nvPicPr>
          <p:cNvPr id="5122" name="Picture 2" descr="D:\Рабочий стол_папки\ПРОЕКТЫ\БЕРЕЖЛИВАЯ ПОЛИКЛИНИКА 2018\Единый брендбук\11.07.2018\Знак проекта-01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052195" y="2874847"/>
            <a:ext cx="1753985" cy="1587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1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5123" name="Picture 3" descr="D:\Рабочий стол_папки\ПРОЕКТЫ\БЕРЕЖЛИВАЯ ПОЛИКЛИНИКА 2018\Единый брендбук\11.07.2018\Вывеска-инструкция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83975" y="1484784"/>
            <a:ext cx="2583437" cy="2307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D:\Рабочий стол_папки\ПРОЕКТЫ\БЕРЕЖЛИВАЯ ПОЛИКЛИНИКА 2018\Единый брендбук\11.07.2018\Вывеска-каталог-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67413" y="1318619"/>
            <a:ext cx="3176587" cy="4230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D:\Рабочий стол_папки\ПРОЕКТЫ\БЕРЕЖЛИВАЯ ПОЛИКЛИНИКА 2018\Единый брендбук\11.07.2018\Табличка на кабинет-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51557" y="4015392"/>
            <a:ext cx="2448272" cy="2195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D:\Рабочий стол_папки\ПРОЕКТЫ\БЕРЕЖЛИВАЯ ПОЛИКЛИНИКА 2018\Единый брендбук\11.07.2018\Табличка-кронштейн-0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2" y="2492896"/>
            <a:ext cx="2816225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7" descr="D:\Рабочий стол_папки\ПРОЕКТЫ\БЕРЕЖЛИВАЯ ПОЛИКЛИНИКА 2018\Единый брендбук\11.07.2018\Табличка-указатель-0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4509120"/>
            <a:ext cx="3086456" cy="153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71600" y="1628800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«Заботливая поликлиника»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xmlns="" val="149970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7704856" cy="826560"/>
          </a:xfrm>
        </p:spPr>
        <p:txBody>
          <a:bodyPr>
            <a:no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Разработана система мониторинга и контроля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395536" y="1196752"/>
            <a:ext cx="6105290" cy="4914779"/>
          </a:xfrm>
        </p:spPr>
        <p:txBody>
          <a:bodyPr>
            <a:normAutofit fontScale="92500"/>
          </a:bodyPr>
          <a:lstStyle/>
          <a:p>
            <a:r>
              <a:rPr lang="ru-RU" sz="2400" b="1" dirty="0" smtClean="0"/>
              <a:t>Приказ </a:t>
            </a:r>
            <a:r>
              <a:rPr lang="ru-RU" sz="2400" b="1" dirty="0"/>
              <a:t>министерства здравоохранения Самарской области от 20.07.2018 № </a:t>
            </a:r>
            <a:r>
              <a:rPr lang="ru-RU" sz="2400" b="1" dirty="0" smtClean="0"/>
              <a:t>876:</a:t>
            </a:r>
          </a:p>
          <a:p>
            <a:r>
              <a:rPr lang="ru-RU" sz="2400" b="1" dirty="0"/>
              <a:t>з</a:t>
            </a:r>
            <a:r>
              <a:rPr lang="ru-RU" sz="2400" b="1" dirty="0" smtClean="0"/>
              <a:t>аполнение чек-листов</a:t>
            </a:r>
          </a:p>
          <a:p>
            <a:r>
              <a:rPr lang="ru-RU" sz="2400" b="1" dirty="0"/>
              <a:t>перекрестные проверки учреждений </a:t>
            </a:r>
            <a:r>
              <a:rPr lang="ru-RU" sz="2400" b="1" dirty="0" smtClean="0"/>
              <a:t>здравоохранения (22 ЛПУ)</a:t>
            </a:r>
          </a:p>
          <a:p>
            <a:r>
              <a:rPr lang="ru-RU" sz="2400" b="1" dirty="0"/>
              <a:t>выездной </a:t>
            </a:r>
            <a:r>
              <a:rPr lang="ru-RU" sz="2400" b="1" dirty="0" smtClean="0"/>
              <a:t>мониторинг МЗСО (ежемесячно)</a:t>
            </a:r>
          </a:p>
          <a:p>
            <a:r>
              <a:rPr lang="ru-RU" sz="2400" b="1" dirty="0"/>
              <a:t>включение пунктов выполнения дорожных карт в «эффективные контракты» </a:t>
            </a:r>
            <a:r>
              <a:rPr lang="ru-RU" sz="2400" b="1" dirty="0" smtClean="0"/>
              <a:t> руководителей и сотрудников</a:t>
            </a:r>
          </a:p>
          <a:p>
            <a:r>
              <a:rPr lang="ru-RU" b="1" dirty="0" smtClean="0"/>
              <a:t>«+» и «-»</a:t>
            </a: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2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2160" y="4293096"/>
            <a:ext cx="2952328" cy="1949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96804" y="928670"/>
            <a:ext cx="2647196" cy="264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98774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332656"/>
            <a:ext cx="4536504" cy="826560"/>
          </a:xfrm>
        </p:spPr>
        <p:txBody>
          <a:bodyPr>
            <a:no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амарская городская больница № 4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3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6016" y="2996952"/>
            <a:ext cx="4283968" cy="3624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1" name="Picture 3" descr="C:\Users\GomjinaAV\Desktop\Конференция 14112018\ФОТО для Удовлетворенности\СГБ 4 отработано фото\крыльцо после ремонта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30908"/>
            <a:ext cx="4283968" cy="321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C:\Users\GomjinaAV\Desktop\Конференция 14112018\ФОТО для Удовлетворенности\СГБ 4 отработано фото\регистратура,операторы call-центра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20" y="1663339"/>
            <a:ext cx="4430296" cy="4957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43627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7272808" cy="826560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амарская городская больница № 10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4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8194" name="Picture 2" descr="C:\Users\GomjinaAV\Desktop\Конференция 14112018\ФОТО для Удовлетворенности\СГБ 10 фото\06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20" y="3886237"/>
            <a:ext cx="5648670" cy="297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GomjinaAV\Desktop\Конференция 14112018\ФОТО для Удовлетворенности\СГБ 10 фото\06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20" y="928670"/>
            <a:ext cx="5500726" cy="3111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:\Users\GomjinaAV\Desktop\Конференция 14112018\ФОТО для Удовлетворенности\СГБ 10 фото\фото рег дпо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86446" y="928670"/>
            <a:ext cx="2958090" cy="5929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4816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0"/>
            <a:ext cx="7742094" cy="826560"/>
          </a:xfrm>
        </p:spPr>
        <p:txBody>
          <a:bodyPr>
            <a:no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амарская городская поликлиника № 6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99592" y="1196752"/>
            <a:ext cx="2956816" cy="2280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5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9220" name="Picture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5400" y="1709738"/>
            <a:ext cx="4038600" cy="2525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4221088"/>
            <a:ext cx="3986138" cy="2395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928" y="3212976"/>
            <a:ext cx="1918518" cy="2395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28184" y="4221088"/>
            <a:ext cx="2160239" cy="2395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42909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0"/>
            <a:ext cx="7286676" cy="826560"/>
          </a:xfrm>
        </p:spPr>
        <p:txBody>
          <a:bodyPr>
            <a:no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Тольяттинская городская поликлиника № 2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6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1266" name="Picture 2" descr="C:\Users\GomjinaAV\Desktop\Конференция 14112018\ФОТО для Удовлетворенности\ТГП 2 фото\фото до и после\фото\после\20181108_143517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429000"/>
            <a:ext cx="6008246" cy="3379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GomjinaAV\Desktop\Конференция 14112018\ФОТО для Удовлетворенности\ТГП 2 фото\фото до и после\фото\после\IMG-af6bc6b775cd3c39108caa8bdb8063ca-V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08246" y="1360224"/>
            <a:ext cx="3135754" cy="5445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:\Users\GomjinaAV\Desktop\Конференция 14112018\ФОТО для Удовлетворенности\ТГП 2 фото\фото до и после\фото\после\Изображение 05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1600" y="836712"/>
            <a:ext cx="4499992" cy="275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6802" name="Picture 2" descr="https://gisp.gov.ru/upload/iblock/29d/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29554" y="0"/>
            <a:ext cx="1214446" cy="13271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63836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5544616" cy="826560"/>
          </a:xfrm>
        </p:spPr>
        <p:txBody>
          <a:bodyPr>
            <a:norm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амарская МСЧ № 2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7544" y="1196753"/>
            <a:ext cx="4536504" cy="1152128"/>
          </a:xfrm>
        </p:spPr>
        <p:txBody>
          <a:bodyPr/>
          <a:lstStyle/>
          <a:p>
            <a:r>
              <a:rPr lang="ru-RU" sz="2000" b="1" dirty="0" smtClean="0">
                <a:solidFill>
                  <a:srgbClr val="C00000"/>
                </a:solidFill>
              </a:rPr>
              <a:t>(</a:t>
            </a:r>
            <a:r>
              <a:rPr lang="ru-RU" sz="2400" b="1" dirty="0" smtClean="0">
                <a:solidFill>
                  <a:srgbClr val="C00000"/>
                </a:solidFill>
              </a:rPr>
              <a:t>с привлечением средств областного бюджета)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17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10242" name="Picture 2" descr="C:\Users\GomjinaAV\Desktop\Конференция 14112018\ФОТО для Удовлетворенности\СМСЧ 2 фото\IMG_20181109_12465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158" y="2214554"/>
            <a:ext cx="4500562" cy="42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GomjinaAV\Desktop\Конференция 14112018\ФОТО для Удовлетворенности\СМСЧ 2 фото\IMG-9a3dd5082f6eed9ccff41cb77e830388-V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57752" y="928670"/>
            <a:ext cx="2473501" cy="339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4" name="Picture 4" descr="C:\Users\GomjinaAV\Desktop\Конференция 14112018\ФОТО для Удовлетворенности\СМСЧ 2 фото\IMG-33bfe1a7e7441745c1bd12e9179b61bc-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57752" y="4357694"/>
            <a:ext cx="2143140" cy="2500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C:\Users\GomjinaAV\Desktop\Конференция 14112018\ФОТО для Удовлетворенности\СМСЧ 2 фото\IMG-c06cb9a44c3ebe2c264a7126f3e1b712-V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84589" y="3411313"/>
            <a:ext cx="2159411" cy="344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5778" name="Picture 2" descr="https://gisp.gov.ru/upload/iblock/29d/gerb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715240" y="0"/>
            <a:ext cx="1428760" cy="13013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91370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5720" y="0"/>
            <a:ext cx="8572560" cy="826560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Планируется реализовать в 2019 году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ru-RU" sz="2400" dirty="0" smtClean="0"/>
              <a:t> </a:t>
            </a:r>
            <a:r>
              <a:rPr lang="ru-RU" sz="2400" b="1" dirty="0" smtClean="0"/>
              <a:t>Реализация национального проекта «Здравоохранение»:</a:t>
            </a:r>
          </a:p>
          <a:p>
            <a:r>
              <a:rPr lang="ru-RU" sz="2400" b="1" dirty="0" smtClean="0"/>
              <a:t>Региональная составляющая - «Развитие детского здравоохранения» </a:t>
            </a:r>
          </a:p>
          <a:p>
            <a:r>
              <a:rPr lang="ru-RU" sz="2400" dirty="0" smtClean="0"/>
              <a:t>внедрение технологий «бережливого производства» в работу детских поликлиник</a:t>
            </a:r>
          </a:p>
          <a:p>
            <a:r>
              <a:rPr lang="ru-RU" sz="2400" b="1" dirty="0" smtClean="0"/>
              <a:t>Региональная составляющая - «Развитие системы оказания первичной медико-санитарной помощи» </a:t>
            </a:r>
          </a:p>
          <a:p>
            <a:r>
              <a:rPr lang="ru-RU" sz="2400" dirty="0" smtClean="0"/>
              <a:t>продолжение тиражирования положительного опыта внедрения технологий «бережливого производства» в работу взрослых поликлиник, учреждений здравоохранения стационарного типа</a:t>
            </a:r>
          </a:p>
          <a:p>
            <a:endParaRPr lang="ru-RU" dirty="0"/>
          </a:p>
        </p:txBody>
      </p:sp>
      <p:pic>
        <p:nvPicPr>
          <p:cNvPr id="74760" name="Picture 8" descr="http://stavropolskiy.com/assets/images_cache/e1f010a263f6e5c2b9142e59bdf3a4d9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00926" y="5643578"/>
            <a:ext cx="1643074" cy="1214422"/>
          </a:xfrm>
          <a:prstGeom prst="rect">
            <a:avLst/>
          </a:prstGeom>
          <a:noFill/>
        </p:spPr>
      </p:pic>
      <p:pic>
        <p:nvPicPr>
          <p:cNvPr id="74762" name="Picture 10" descr="https://gisp.gov.ru/upload/iblock/29d/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00992" y="0"/>
            <a:ext cx="1143008" cy="124904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sz="4000" b="1" dirty="0" smtClean="0"/>
              <a:t>Благодарю за внимание!</a:t>
            </a:r>
            <a:endParaRPr lang="ru-RU" sz="4000" b="1" dirty="0"/>
          </a:p>
        </p:txBody>
      </p:sp>
      <p:pic>
        <p:nvPicPr>
          <p:cNvPr id="86018" name="Picture 2" descr="https://img3.stockfresh.com/files/k/kurhan/m/39/8421822_stock-photo-health-care-stock-market-backgroun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5786" y="4214818"/>
            <a:ext cx="3987797" cy="2196158"/>
          </a:xfrm>
          <a:prstGeom prst="rect">
            <a:avLst/>
          </a:prstGeom>
          <a:noFill/>
        </p:spPr>
      </p:pic>
      <p:pic>
        <p:nvPicPr>
          <p:cNvPr id="86020" name="Picture 4" descr="https://socialmediaforwellness.com/wp-content/uploads/2015/02/social-media-for-wellness-hom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0" y="214290"/>
            <a:ext cx="3714775" cy="2625108"/>
          </a:xfrm>
          <a:prstGeom prst="rect">
            <a:avLst/>
          </a:prstGeom>
          <a:noFill/>
        </p:spPr>
      </p:pic>
      <p:pic>
        <p:nvPicPr>
          <p:cNvPr id="86022" name="Picture 6" descr="https://pbs.twimg.com/profile_banners/53349469/1474033188/1500x50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71934" y="785794"/>
            <a:ext cx="4000528" cy="1333510"/>
          </a:xfrm>
          <a:prstGeom prst="rect">
            <a:avLst/>
          </a:prstGeom>
          <a:noFill/>
        </p:spPr>
      </p:pic>
      <p:pic>
        <p:nvPicPr>
          <p:cNvPr id="86024" name="Picture 8" descr="ÐÐ¾ÐºÑÐ¾Ñ Ñ Ð¿Ð°ÑÐ¸ÐµÐ½ÑÐ¾Ð¼ Ð² ÑÑÐ°ÑÐ¸Ð¾Ð½Ð°ÑÐµ â ÑÑÐ¾ÐºÐ¾Ð²Ð¾Ðµ ÑÐ¾ÑÐ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143504" y="4000504"/>
            <a:ext cx="3714776" cy="26085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7422" y="285728"/>
            <a:ext cx="4673680" cy="826560"/>
          </a:xfrm>
        </p:spPr>
        <p:txBody>
          <a:bodyPr/>
          <a:lstStyle/>
          <a:p>
            <a:r>
              <a:rPr lang="ru-RU" b="1" dirty="0" smtClean="0">
                <a:solidFill>
                  <a:srgbClr val="C00000"/>
                </a:solidFill>
              </a:rPr>
              <a:t>Нормативная база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sz="2400" b="1" dirty="0" smtClean="0"/>
              <a:t>Новое:</a:t>
            </a:r>
          </a:p>
          <a:p>
            <a:pPr algn="just"/>
            <a:r>
              <a:rPr lang="ru-RU" sz="2400" dirty="0" smtClean="0"/>
              <a:t>Указ Президента РФ от 19.07.2018 N 444 «Об упорядочении деятельности совещательных и консультативных органов при Президенте Российской Федерации» (вместе с «Положением о Совете при Президенте Российской Федерации по стратегическому развитию и национальным проектам»)</a:t>
            </a:r>
            <a:endParaRPr lang="ru-RU" sz="2400" b="1" dirty="0" smtClean="0"/>
          </a:p>
          <a:p>
            <a:pPr algn="just"/>
            <a:r>
              <a:rPr lang="ru-RU" sz="2400" dirty="0" smtClean="0"/>
              <a:t>Постановление Правительства РФ от 31.10.2018 </a:t>
            </a:r>
            <a:br>
              <a:rPr lang="ru-RU" sz="2400" dirty="0" smtClean="0"/>
            </a:br>
            <a:r>
              <a:rPr lang="ru-RU" sz="2400" dirty="0" smtClean="0"/>
              <a:t>№ 1288 «Об организации проектной деятельности в Правительстве Российской Федерации»</a:t>
            </a:r>
          </a:p>
          <a:p>
            <a:r>
              <a:rPr lang="ru-RU" sz="2400" dirty="0" smtClean="0"/>
              <a:t>  Постановление Правительства Самарской области от 02.11.2018 № 635 «Об общей координации реализации национальных и федеральных проектов и внесении изменений в отдельные постановления Правительства Самарской области»</a:t>
            </a:r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20" y="0"/>
            <a:ext cx="1866346" cy="1159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https://gisp.gov.ru/upload/iblock/29d/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5475" y="0"/>
            <a:ext cx="1258525" cy="1375283"/>
          </a:xfrm>
          <a:prstGeom prst="rect">
            <a:avLst/>
          </a:prstGeom>
          <a:noFill/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5720" y="5786463"/>
            <a:ext cx="1071537" cy="10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66346" y="260648"/>
            <a:ext cx="6902806" cy="826560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Проекты, реализующиеся на территории Самарской области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/>
        <p:txBody>
          <a:bodyPr>
            <a:normAutofit fontScale="40000" lnSpcReduction="20000"/>
          </a:bodyPr>
          <a:lstStyle/>
          <a:p>
            <a:r>
              <a:rPr lang="ru-RU" sz="5100" b="1" dirty="0" smtClean="0"/>
              <a:t>Региональные проекты:</a:t>
            </a:r>
          </a:p>
          <a:p>
            <a:r>
              <a:rPr lang="ru-RU" sz="5100" dirty="0" smtClean="0"/>
              <a:t>«Бережливая поликлиника» </a:t>
            </a:r>
          </a:p>
          <a:p>
            <a:r>
              <a:rPr lang="ru-RU" sz="5100" dirty="0" smtClean="0"/>
              <a:t>Создание Единого диспетчерского центра СМП </a:t>
            </a:r>
          </a:p>
          <a:p>
            <a:r>
              <a:rPr lang="ru-RU" sz="5100" dirty="0" smtClean="0"/>
              <a:t>Межведомственное взаимодействие в разработке и реализации ИПРА</a:t>
            </a:r>
          </a:p>
          <a:p>
            <a:r>
              <a:rPr lang="ru-RU" sz="5100" dirty="0" smtClean="0"/>
              <a:t>«Повышение удовлетворенности жителей региона услугами сферы здравоохранения»</a:t>
            </a:r>
          </a:p>
          <a:p>
            <a:r>
              <a:rPr lang="ru-RU" sz="5100" b="1" dirty="0" smtClean="0"/>
              <a:t>Ведомственный проект</a:t>
            </a:r>
          </a:p>
          <a:p>
            <a:r>
              <a:rPr lang="ru-RU" sz="5100" dirty="0" smtClean="0"/>
              <a:t>«Территория заботы»</a:t>
            </a:r>
          </a:p>
          <a:p>
            <a:r>
              <a:rPr lang="ru-RU" sz="5100" b="1" dirty="0" smtClean="0"/>
              <a:t>Партийный проект</a:t>
            </a:r>
          </a:p>
          <a:p>
            <a:r>
              <a:rPr lang="ru-RU" sz="5100" dirty="0" smtClean="0"/>
              <a:t>«Здоровое будущее»</a:t>
            </a:r>
          </a:p>
          <a:p>
            <a:endParaRPr lang="ru-RU" sz="1800" dirty="0" smtClean="0"/>
          </a:p>
          <a:p>
            <a:endParaRPr lang="ru-RU" sz="2000" dirty="0" smtClean="0"/>
          </a:p>
          <a:p>
            <a:endParaRPr lang="ru-RU" sz="200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2736"/>
            <a:ext cx="4038600" cy="5073433"/>
          </a:xfrm>
        </p:spPr>
        <p:txBody>
          <a:bodyPr>
            <a:noAutofit/>
          </a:bodyPr>
          <a:lstStyle/>
          <a:p>
            <a:r>
              <a:rPr lang="ru-RU" sz="1400" b="1" dirty="0"/>
              <a:t>С 2019 года Национальный проект «Здравоохранение»:</a:t>
            </a:r>
          </a:p>
          <a:p>
            <a:r>
              <a:rPr lang="ru-RU" sz="1400" dirty="0"/>
              <a:t>«Развитие системы оказания первичной медико-санитарной помощи» </a:t>
            </a:r>
            <a:endParaRPr lang="ru-RU" sz="1400" dirty="0" smtClean="0"/>
          </a:p>
          <a:p>
            <a:r>
              <a:rPr lang="ru-RU" sz="1400" dirty="0" smtClean="0"/>
              <a:t>«</a:t>
            </a:r>
            <a:r>
              <a:rPr lang="ru-RU" sz="1400" dirty="0"/>
              <a:t>Борьба с сердечно-сосудистыми заболеваниями» </a:t>
            </a:r>
          </a:p>
          <a:p>
            <a:r>
              <a:rPr lang="ru-RU" sz="1400" dirty="0"/>
              <a:t>«Борьба с онкологическими заболеваниями»</a:t>
            </a:r>
          </a:p>
          <a:p>
            <a:r>
              <a:rPr lang="ru-RU" sz="1400" dirty="0"/>
              <a:t> «Развитие детского здравоохранения, включая создание современной инфраструктуры оказания медицинской помощи детям»</a:t>
            </a:r>
          </a:p>
          <a:p>
            <a:r>
              <a:rPr lang="ru-RU" sz="1400" dirty="0"/>
              <a:t> «Обеспечение медицинских организаций системы здравоохранения квалифицированными кадрами»</a:t>
            </a:r>
          </a:p>
          <a:p>
            <a:r>
              <a:rPr lang="ru-RU" sz="1400" dirty="0"/>
              <a:t>«Развитие национальных медицинских исследовательских центров для внедрения инновационных медицинских технологий и клинических рекомендаций, протоколов лечения»</a:t>
            </a:r>
          </a:p>
          <a:p>
            <a:r>
              <a:rPr lang="ru-RU" sz="1400" dirty="0"/>
              <a:t> «Создание единого цифрового контура в здравоохранении на основе единой государственной информационной системы здравоохранения (ЕГИСЗ)»</a:t>
            </a:r>
          </a:p>
          <a:p>
            <a:r>
              <a:rPr lang="ru-RU" sz="1400" dirty="0"/>
              <a:t> «Развитие экспорта медицинских услуг</a:t>
            </a:r>
            <a:r>
              <a:rPr lang="ru-RU" sz="1400" dirty="0" smtClean="0"/>
              <a:t>» </a:t>
            </a:r>
            <a:endParaRPr lang="ru-RU" sz="1400" dirty="0"/>
          </a:p>
          <a:p>
            <a:endParaRPr lang="ru-RU" sz="1400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1866346" cy="1159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786463"/>
            <a:ext cx="1071537" cy="10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682" name="Picture 2" descr="https://gisp.gov.ru/upload/iblock/29d/ger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85475" y="0"/>
            <a:ext cx="1258525" cy="137528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3"/>
          <p:cNvSpPr>
            <a:spLocks noChangeArrowheads="1"/>
          </p:cNvSpPr>
          <p:nvPr/>
        </p:nvSpPr>
        <p:spPr bwMode="auto">
          <a:xfrm>
            <a:off x="395537" y="44624"/>
            <a:ext cx="8573818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hangingPunct="1">
              <a:buClr>
                <a:srgbClr val="FFB13F"/>
              </a:buClr>
              <a:defRPr/>
            </a:pP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Сроки реализации проекта «Бережливая поликлиника» 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/>
            </a:r>
            <a:b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</a:b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в </a:t>
            </a: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Самарской области: 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22.06.2017 </a:t>
            </a:r>
            <a:r>
              <a:rPr lang="ru-RU" sz="2000" b="1" kern="1200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– 29.12.2017</a:t>
            </a:r>
          </a:p>
        </p:txBody>
      </p:sp>
      <p:sp>
        <p:nvSpPr>
          <p:cNvPr id="5" name="Прямоугольник 43"/>
          <p:cNvSpPr>
            <a:spLocks noChangeArrowheads="1"/>
          </p:cNvSpPr>
          <p:nvPr/>
        </p:nvSpPr>
        <p:spPr bwMode="auto">
          <a:xfrm>
            <a:off x="251520" y="908720"/>
            <a:ext cx="4638461" cy="5174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hangingPunct="1">
              <a:spcBef>
                <a:spcPts val="600"/>
              </a:spcBef>
              <a:buClr>
                <a:srgbClr val="FFB13F"/>
              </a:buClr>
            </a:pPr>
            <a:r>
              <a:rPr lang="ru-RU" sz="2400" b="1" kern="1200" dirty="0">
                <a:solidFill>
                  <a:srgbClr val="00576C"/>
                </a:solidFill>
                <a:latin typeface="Calibri" pitchFamily="34" charset="0"/>
                <a:ea typeface="+mn-ea"/>
                <a:cs typeface="+mn-cs"/>
              </a:rPr>
              <a:t>Участники проекта:</a:t>
            </a:r>
            <a:br>
              <a:rPr lang="ru-RU" sz="2400" b="1" kern="1200" dirty="0">
                <a:solidFill>
                  <a:srgbClr val="00576C"/>
                </a:solidFill>
                <a:latin typeface="Calibri" pitchFamily="34" charset="0"/>
                <a:ea typeface="+mn-ea"/>
                <a:cs typeface="+mn-cs"/>
              </a:rPr>
            </a:br>
            <a:r>
              <a:rPr lang="ru-RU" sz="1400" b="1" kern="1200" dirty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t>1 Волна: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Поликлиника № 13 (г. Самара),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Поликлиника № 2 (г. Тольятти),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Поликлиника № 3 (г. Тольятти),</a:t>
            </a:r>
          </a:p>
          <a:p>
            <a:pPr hangingPunct="1">
              <a:spcBef>
                <a:spcPts val="600"/>
              </a:spcBef>
              <a:buClr>
                <a:srgbClr val="FFB13F"/>
              </a:buClr>
            </a:pPr>
            <a:r>
              <a:rPr lang="ru-RU" sz="1400" b="1" kern="1200" dirty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t>2 Волна: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 err="1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Кардиодиспансер</a:t>
            </a: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 (г. Самара)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СОКБ им. </a:t>
            </a:r>
            <a:r>
              <a:rPr lang="ru-RU" kern="1200" dirty="0" err="1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Середавина</a:t>
            </a:r>
            <a:endParaRPr lang="ru-RU" kern="1200" dirty="0">
              <a:solidFill>
                <a:prstClr val="black"/>
              </a:solidFill>
              <a:latin typeface="Calibri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ГБУЗ СО </a:t>
            </a:r>
            <a:r>
              <a:rPr lang="ru-RU" kern="1200" dirty="0" err="1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Сызранская</a:t>
            </a: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 ЦГБ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ГБУЗ СО Чапаевская ЦГБ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ГБУЗ СО СГБ№7</a:t>
            </a:r>
          </a:p>
          <a:p>
            <a:pPr hangingPunct="1">
              <a:spcBef>
                <a:spcPts val="600"/>
              </a:spcBef>
              <a:buClr>
                <a:srgbClr val="FFB13F"/>
              </a:buClr>
            </a:pPr>
            <a:r>
              <a:rPr lang="ru-RU" sz="1400" b="1" kern="1200" dirty="0">
                <a:solidFill>
                  <a:prstClr val="black"/>
                </a:solidFill>
                <a:latin typeface="Calibri" pitchFamily="34" charset="0"/>
                <a:ea typeface="+mn-ea"/>
                <a:cs typeface="+mn-cs"/>
              </a:rPr>
              <a:t>3, 4, 5 Волна…</a:t>
            </a:r>
            <a:endParaRPr lang="ru-RU" sz="1400" kern="1200" dirty="0">
              <a:solidFill>
                <a:prstClr val="black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7" name="Прямоугольник 43"/>
          <p:cNvSpPr>
            <a:spLocks noChangeArrowheads="1"/>
          </p:cNvSpPr>
          <p:nvPr/>
        </p:nvSpPr>
        <p:spPr bwMode="auto">
          <a:xfrm>
            <a:off x="4211960" y="908720"/>
            <a:ext cx="4732015" cy="5580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hangingPunct="1">
              <a:spcBef>
                <a:spcPts val="600"/>
              </a:spcBef>
              <a:buClr>
                <a:srgbClr val="FFB13F"/>
              </a:buClr>
            </a:pPr>
            <a:r>
              <a:rPr lang="ru-RU" sz="2400" b="1" kern="1200" dirty="0">
                <a:solidFill>
                  <a:srgbClr val="00576C"/>
                </a:solidFill>
                <a:latin typeface="Calibri" pitchFamily="34" charset="0"/>
                <a:ea typeface="+mn-ea"/>
                <a:cs typeface="+mn-cs"/>
              </a:rPr>
              <a:t>Проектная команда: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Поликлиники,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Минздрав Самарской области, 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МИАЦ г. Самара,</a:t>
            </a:r>
          </a:p>
          <a:p>
            <a:pPr marL="342900" indent="-342900" hangingPunct="1">
              <a:spcBef>
                <a:spcPts val="600"/>
              </a:spcBef>
              <a:buClr>
                <a:srgbClr val="FFB13F"/>
              </a:buClr>
              <a:buFont typeface="Wingdings" panose="05000000000000000000" pitchFamily="2" charset="2"/>
              <a:buChar char="§"/>
            </a:pPr>
            <a:r>
              <a:rPr lang="ru-RU" kern="1200" dirty="0">
                <a:solidFill>
                  <a:prstClr val="black"/>
                </a:solidFill>
                <a:latin typeface="Calibri" pitchFamily="34" charset="0"/>
                <a:ea typeface="+mn-ea"/>
                <a:cs typeface="Arial" panose="020B0604020202020204" pitchFamily="34" charset="0"/>
              </a:rPr>
              <a:t>Поволжский банк ПАО Сбербанк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781" r="26743" b="11471"/>
          <a:stretch/>
        </p:blipFill>
        <p:spPr bwMode="auto">
          <a:xfrm>
            <a:off x="4399497" y="2828697"/>
            <a:ext cx="2652470" cy="175243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4263" y="4771141"/>
            <a:ext cx="2409825" cy="17313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286" b="9325"/>
          <a:stretch/>
        </p:blipFill>
        <p:spPr>
          <a:xfrm>
            <a:off x="6055215" y="4771141"/>
            <a:ext cx="2400000" cy="17138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348796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4536504" cy="826560"/>
          </a:xfrm>
        </p:spPr>
        <p:txBody>
          <a:bodyPr>
            <a:normAutofit/>
          </a:bodyPr>
          <a:lstStyle/>
          <a:p>
            <a:pPr algn="ctr"/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FF0000"/>
                </a:solidFill>
                <a:latin typeface="Fedra Sans Pro Medium LF"/>
                <a:ea typeface="Fedra Sans Pro Medium LF"/>
                <a:cs typeface="Fedra Sans Pro Medium LF"/>
              </a:rPr>
              <a:t>Оптимизация процессов и 5С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FF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20" y="714357"/>
            <a:ext cx="5857916" cy="5411808"/>
          </a:xfrm>
        </p:spPr>
        <p:txBody>
          <a:bodyPr>
            <a:noAutofit/>
          </a:bodyPr>
          <a:lstStyle/>
          <a:p>
            <a:pPr marL="0" indent="0">
              <a:buClr>
                <a:schemeClr val="tx2"/>
              </a:buClr>
              <a:buNone/>
            </a:pPr>
            <a:r>
              <a:rPr lang="ru-RU" sz="1800" b="1" dirty="0" smtClean="0">
                <a:latin typeface="+mn-lt"/>
              </a:rPr>
              <a:t>Процессы</a:t>
            </a:r>
            <a:r>
              <a:rPr lang="ru-RU" sz="1800" b="1" u="sng" dirty="0" smtClean="0">
                <a:latin typeface="+mn-lt"/>
              </a:rPr>
              <a:t>: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«Обслуживание </a:t>
            </a:r>
            <a:r>
              <a:rPr lang="ru-RU" sz="1600" dirty="0">
                <a:latin typeface="+mn-lt"/>
              </a:rPr>
              <a:t>пациентов в регистратуре» </a:t>
            </a:r>
            <a:endParaRPr lang="ru-RU" sz="1600" dirty="0" smtClean="0">
              <a:latin typeface="+mn-lt"/>
            </a:endParaRP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«Обращение </a:t>
            </a:r>
            <a:r>
              <a:rPr lang="ru-RU" sz="1600" dirty="0">
                <a:latin typeface="+mn-lt"/>
              </a:rPr>
              <a:t>пациента </a:t>
            </a:r>
            <a:r>
              <a:rPr lang="ru-RU" sz="1600" dirty="0" smtClean="0">
                <a:latin typeface="+mn-lt"/>
              </a:rPr>
              <a:t>к </a:t>
            </a:r>
            <a:r>
              <a:rPr lang="ru-RU" sz="1600" dirty="0">
                <a:latin typeface="+mn-lt"/>
              </a:rPr>
              <a:t>участковому врачу» </a:t>
            </a:r>
            <a:endParaRPr lang="ru-RU" sz="1600" dirty="0" smtClean="0">
              <a:latin typeface="+mn-lt"/>
            </a:endParaRP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«Запись пациента на диагностические </a:t>
            </a:r>
            <a:r>
              <a:rPr lang="ru-RU" sz="1600" dirty="0">
                <a:latin typeface="+mn-lt"/>
              </a:rPr>
              <a:t>исследования</a:t>
            </a:r>
            <a:r>
              <a:rPr lang="ru-RU" sz="1600" dirty="0" smtClean="0">
                <a:latin typeface="+mn-lt"/>
              </a:rPr>
              <a:t>» 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«Прием врача-специалиста»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800" dirty="0" smtClean="0">
              <a:latin typeface="+mn-lt"/>
            </a:endParaRPr>
          </a:p>
          <a:p>
            <a:pPr marL="0" indent="0">
              <a:buClr>
                <a:schemeClr val="tx2"/>
              </a:buClr>
              <a:buNone/>
            </a:pPr>
            <a:r>
              <a:rPr lang="ru-RU" sz="1800" b="1" dirty="0" smtClean="0">
                <a:latin typeface="+mn-lt"/>
              </a:rPr>
              <a:t>Ключевые изменения: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Разделение потоков пациентов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Внедрение альтернативных вариантов записи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Возможность получения талона на плановые 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исследования при первичном посещении врача 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Введение  администраторов зала, эл. очереди, понятной навигации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расширение функций среднего медицинского персонала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Внедрены стандарты рабочих мест и помещений в соответствии с 5С</a:t>
            </a:r>
          </a:p>
          <a:p>
            <a:pPr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+mn-lt"/>
              </a:rPr>
              <a:t>Команды обучены методике оптимизации и 5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3C3C3C">
                    <a:tint val="75000"/>
                  </a:srgbClr>
                </a:solidFill>
              </a:rPr>
              <a:pPr/>
              <a:t>5</a:t>
            </a:fld>
            <a:endParaRPr lang="ru-RU">
              <a:solidFill>
                <a:srgbClr val="3C3C3C">
                  <a:tint val="75000"/>
                </a:srgbClr>
              </a:solidFill>
            </a:endParaRPr>
          </a:p>
        </p:txBody>
      </p:sp>
      <p:pic>
        <p:nvPicPr>
          <p:cNvPr id="57349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28002" y="748413"/>
            <a:ext cx="2730784" cy="1664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5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42326" y="5140325"/>
            <a:ext cx="2730784" cy="1581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580" r="10042"/>
          <a:stretch/>
        </p:blipFill>
        <p:spPr bwMode="auto">
          <a:xfrm>
            <a:off x="6215074" y="2428868"/>
            <a:ext cx="2714644" cy="26229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8120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694932104"/>
              </p:ext>
            </p:extLst>
          </p:nvPr>
        </p:nvGraphicFramePr>
        <p:xfrm>
          <a:off x="3131840" y="1556792"/>
          <a:ext cx="5770984" cy="49294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51521" y="1052736"/>
            <a:ext cx="2952328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hangingPunct="1">
              <a:spcBef>
                <a:spcPts val="600"/>
              </a:spcBef>
              <a:buClr>
                <a:srgbClr val="FFB13F"/>
              </a:buClr>
            </a:pPr>
            <a:r>
              <a:rPr lang="ru-RU" sz="2000" b="1" kern="1200" dirty="0" smtClean="0">
                <a:solidFill>
                  <a:srgbClr val="3C3C3C"/>
                </a:solidFill>
                <a:latin typeface="Corbel"/>
                <a:ea typeface="+mn-ea"/>
                <a:cs typeface="+mn-cs"/>
              </a:rPr>
              <a:t>Участники: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67E"/>
              </a:buClr>
              <a:buFont typeface="Wingdings" panose="05000000000000000000" pitchFamily="2" charset="2"/>
              <a:buChar char="§"/>
            </a:pPr>
            <a:r>
              <a:rPr lang="ru-RU" sz="2000" kern="1200" dirty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П</a:t>
            </a: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редставители МЗСО, МИАЦ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67E"/>
              </a:buClr>
              <a:buFont typeface="Wingdings" panose="05000000000000000000" pitchFamily="2" charset="2"/>
              <a:buChar char="§"/>
            </a:pP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Учреждения здравоохранения СО (поликлиники, скорая помощь, стационары)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67E"/>
              </a:buClr>
              <a:buFont typeface="Wingdings" panose="05000000000000000000" pitchFamily="2" charset="2"/>
              <a:buChar char="§"/>
            </a:pPr>
            <a:r>
              <a:rPr lang="ru-RU" sz="2000" kern="1200" dirty="0" err="1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СамГМУ</a:t>
            </a: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, медицинский колледж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67E"/>
              </a:buClr>
              <a:buFont typeface="Wingdings" panose="05000000000000000000" pitchFamily="2" charset="2"/>
              <a:buChar char="§"/>
            </a:pP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ТФОМС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67E"/>
              </a:buClr>
              <a:buFont typeface="Wingdings" panose="05000000000000000000" pitchFamily="2" charset="2"/>
              <a:buChar char="§"/>
            </a:pP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Академия </a:t>
            </a: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консалтинга</a:t>
            </a:r>
            <a:endParaRPr lang="ru-RU" sz="2000" b="1" kern="1200" dirty="0">
              <a:ln w="3175">
                <a:solidFill>
                  <a:sysClr val="windowText" lastClr="000000"/>
                </a:solidFill>
              </a:ln>
              <a:solidFill>
                <a:srgbClr val="00667E"/>
              </a:solidFill>
              <a:latin typeface="Corbel"/>
              <a:ea typeface="+mn-ea"/>
              <a:cs typeface="+mn-cs"/>
            </a:endParaRPr>
          </a:p>
          <a:p>
            <a:pPr defTabSz="457200" hangingPunct="1">
              <a:spcBef>
                <a:spcPts val="600"/>
              </a:spcBef>
              <a:buClr>
                <a:srgbClr val="FFB13F"/>
              </a:buClr>
            </a:pPr>
            <a:r>
              <a:rPr lang="ru-RU" sz="2000" b="1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Время проведения:</a:t>
            </a:r>
          </a:p>
          <a:p>
            <a:pPr marL="285750" indent="-285750" defTabSz="457200" hangingPunct="1">
              <a:spcBef>
                <a:spcPts val="600"/>
              </a:spcBef>
              <a:buClr>
                <a:srgbClr val="00677E"/>
              </a:buClr>
              <a:buFont typeface="Arial" panose="020B0604020202020204" pitchFamily="34" charset="0"/>
              <a:buChar char="•"/>
            </a:pPr>
            <a:r>
              <a:rPr lang="ru-RU" sz="2000" kern="1200" dirty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С</a:t>
            </a:r>
            <a:r>
              <a:rPr lang="ru-RU" sz="2000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принт 16-27.04.18 г</a:t>
            </a:r>
            <a:endParaRPr lang="ru-RU" sz="2000" kern="1200" dirty="0">
              <a:solidFill>
                <a:srgbClr val="4C4C4C"/>
              </a:solidFill>
              <a:latin typeface="Corbe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188640"/>
            <a:ext cx="828040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hangingPunct="1"/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Проект «Повышение удовлетворенности жителей региона услугами сферы здравоохранения»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79912" y="980728"/>
            <a:ext cx="488806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hangingPunct="1"/>
            <a:r>
              <a:rPr lang="ru-RU" sz="2200" b="1" kern="1200" dirty="0" smtClean="0">
                <a:solidFill>
                  <a:srgbClr val="4C4C4C"/>
                </a:solidFill>
                <a:latin typeface="Corbel"/>
                <a:ea typeface="+mn-ea"/>
                <a:cs typeface="+mn-cs"/>
              </a:rPr>
              <a:t>Выбранные направления улучшений:</a:t>
            </a:r>
            <a:endParaRPr lang="ru-RU" sz="2200" b="1" kern="1200" dirty="0">
              <a:solidFill>
                <a:srgbClr val="4C4C4C"/>
              </a:solidFill>
              <a:latin typeface="Corbe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89068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Работа проектного офиса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39552" y="2204864"/>
            <a:ext cx="3150714" cy="30963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7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3779912" y="2996952"/>
            <a:ext cx="504056" cy="1440160"/>
          </a:xfrm>
          <a:prstGeom prst="rightArrow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283968" y="3429000"/>
            <a:ext cx="1944216" cy="91440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rgbClr val="C00000"/>
                </a:solidFill>
              </a:rPr>
              <a:t>Дорожная карта учреждения здравоохранения</a:t>
            </a:r>
            <a:endParaRPr lang="ru-RU" sz="1600" dirty="0">
              <a:solidFill>
                <a:srgbClr val="C00000"/>
              </a:solidFill>
            </a:endParaRPr>
          </a:p>
        </p:txBody>
      </p:sp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28184" y="476672"/>
            <a:ext cx="2243733" cy="2179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Стрелка вправо 20"/>
          <p:cNvSpPr/>
          <p:nvPr/>
        </p:nvSpPr>
        <p:spPr>
          <a:xfrm rot="18787739">
            <a:off x="5602194" y="2701259"/>
            <a:ext cx="978408" cy="484632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924944"/>
            <a:ext cx="1563998" cy="204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Стрелка вправо 21"/>
          <p:cNvSpPr/>
          <p:nvPr/>
        </p:nvSpPr>
        <p:spPr>
          <a:xfrm rot="2577287">
            <a:off x="6502503" y="4283607"/>
            <a:ext cx="796871" cy="484632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 rot="20512153">
            <a:off x="6429744" y="3136128"/>
            <a:ext cx="978408" cy="525949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56176" y="5373216"/>
            <a:ext cx="1144925" cy="75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Стрелка вправо 23"/>
          <p:cNvSpPr/>
          <p:nvPr/>
        </p:nvSpPr>
        <p:spPr>
          <a:xfrm rot="3796954">
            <a:off x="5562677" y="4742042"/>
            <a:ext cx="978408" cy="484632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5936" y="5589240"/>
            <a:ext cx="1767027" cy="992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Стрелка вправо 25"/>
          <p:cNvSpPr/>
          <p:nvPr/>
        </p:nvSpPr>
        <p:spPr>
          <a:xfrm rot="5004290">
            <a:off x="4481234" y="4825924"/>
            <a:ext cx="900510" cy="518519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право 27"/>
          <p:cNvSpPr/>
          <p:nvPr/>
        </p:nvSpPr>
        <p:spPr>
          <a:xfrm rot="16012119">
            <a:off x="4567497" y="2608274"/>
            <a:ext cx="978408" cy="484632"/>
          </a:xfrm>
          <a:prstGeom prst="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85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79912" y="908720"/>
            <a:ext cx="1859158" cy="1392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3215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7776864" cy="826560"/>
          </a:xfrm>
        </p:spPr>
        <p:txBody>
          <a:bodyPr>
            <a:no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Разработаны и рекомендованы к применению стандартные операционные процедуры (</a:t>
            </a:r>
            <a:r>
              <a:rPr lang="ru-RU" sz="2000" b="1" kern="1200" dirty="0" err="1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СОПы</a:t>
            </a: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)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556792"/>
            <a:ext cx="4392488" cy="4914779"/>
          </a:xfrm>
        </p:spPr>
        <p:txBody>
          <a:bodyPr/>
          <a:lstStyle/>
          <a:p>
            <a:r>
              <a:rPr lang="ru-RU" sz="2000" b="1" dirty="0" smtClean="0"/>
              <a:t>Процедура </a:t>
            </a:r>
            <a:r>
              <a:rPr lang="ru-RU" sz="2000" b="1" dirty="0"/>
              <a:t>записи на приём к врачу в </a:t>
            </a:r>
            <a:r>
              <a:rPr lang="ru-RU" sz="2000" b="1" dirty="0" smtClean="0"/>
              <a:t>регистратуре</a:t>
            </a:r>
          </a:p>
          <a:p>
            <a:r>
              <a:rPr lang="ru-RU" sz="2000" b="1" dirty="0"/>
              <a:t>Правила поведения медицинского работника при общении с пациентом </a:t>
            </a:r>
            <a:endParaRPr lang="ru-RU" sz="2000" b="1" dirty="0" smtClean="0"/>
          </a:p>
          <a:p>
            <a:r>
              <a:rPr lang="ru-RU" sz="2000" b="1" dirty="0" smtClean="0"/>
              <a:t>Процедура </a:t>
            </a:r>
            <a:r>
              <a:rPr lang="ru-RU" sz="2000" b="1" dirty="0"/>
              <a:t>регистрации вызовов/активов врачей по месту жительства (пребывания) </a:t>
            </a:r>
            <a:r>
              <a:rPr lang="ru-RU" sz="2000" b="1" dirty="0" smtClean="0"/>
              <a:t>больного</a:t>
            </a:r>
          </a:p>
          <a:p>
            <a:r>
              <a:rPr lang="ru-RU" sz="2000" b="1" dirty="0"/>
              <a:t>Информирование пациентов о работе </a:t>
            </a:r>
            <a:r>
              <a:rPr lang="ru-RU" sz="2000" b="1" dirty="0" smtClean="0"/>
              <a:t>поликлиники</a:t>
            </a:r>
          </a:p>
          <a:p>
            <a:r>
              <a:rPr lang="ru-RU" sz="2000" b="1" dirty="0"/>
              <a:t>Подбор медицинских карт амбулаторных пациентов</a:t>
            </a:r>
            <a:endParaRPr lang="ru-RU" sz="2000" b="1" dirty="0" smtClean="0"/>
          </a:p>
          <a:p>
            <a:endParaRPr lang="ru-RU" sz="2000" b="1" dirty="0" smtClean="0"/>
          </a:p>
          <a:p>
            <a:endParaRPr lang="ru-RU" sz="2000" b="1" dirty="0" smtClean="0"/>
          </a:p>
          <a:p>
            <a:endParaRPr lang="ru-RU" sz="2000" b="1" dirty="0" smtClean="0"/>
          </a:p>
          <a:p>
            <a:endParaRPr lang="ru-RU" sz="2000" b="1" dirty="0" smtClean="0"/>
          </a:p>
          <a:p>
            <a:endParaRPr lang="ru-RU" sz="2000" dirty="0"/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120542-0554-8B47-960E-223CB1374193}" type="slidenum">
              <a:rPr lang="ru-RU" smtClean="0">
                <a:solidFill>
                  <a:srgbClr val="4C4C4C">
                    <a:tint val="75000"/>
                  </a:srgbClr>
                </a:solidFill>
              </a:rPr>
              <a:pPr/>
              <a:t>8</a:t>
            </a:fld>
            <a:endParaRPr lang="ru-RU">
              <a:solidFill>
                <a:srgbClr val="4C4C4C">
                  <a:tint val="75000"/>
                </a:srgbClr>
              </a:solidFill>
            </a:endParaRPr>
          </a:p>
        </p:txBody>
      </p:sp>
      <p:pic>
        <p:nvPicPr>
          <p:cNvPr id="4100" name="Picture 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6013" y="2905125"/>
            <a:ext cx="4217987" cy="360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87538712"/>
              </p:ext>
            </p:extLst>
          </p:nvPr>
        </p:nvGraphicFramePr>
        <p:xfrm>
          <a:off x="4067944" y="980728"/>
          <a:ext cx="4963937" cy="1800200"/>
        </p:xfrm>
        <a:graphic>
          <a:graphicData uri="http://schemas.openxmlformats.org/presentationml/2006/ole">
            <p:oleObj spid="_x0000_s4113" name="Документ" r:id="rId4" imgW="6098204" imgH="2038572" progId="Word.Document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16821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AutoShape 2" descr="$36 Ð¼Ð»Ð½ Ð½Ð°Ð¿ÑÐ°Ð²ÑÑ Ð½Ð° ÑÐµÐ°Ð»Ð¸Ð·Ð°ÑÐ¸Ñ ÐºÐ¾Ð½ÑÐµÐ¿ÑÐ¸Ð¸ ÑÐ»ÐµÐºÑÑÐ¾Ð½Ð½Ð¾Ð³Ð¾ Ð·Ð´ÑÐ°Ð²Ð¾Ð¾ÑÑÐ°Ð½ÐµÐ½Ð¸Ñ Ð² ÐÐµÐ»Ð°ÑÑÑÐ¸ - ÐÐ¾Ð¿ÐºÐ¾Ð²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676" name="AutoShape 4" descr="http://www.mv.org.ua/image/news_small/2017/10/26_012813_1-mhipxftx9b2wa5vqnk9wia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678" name="AutoShape 6" descr="http://www.mv.org.ua/image/news_small/2017/10/26_012813_1-mhipxftx9b2wa5vqnk9wia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8680" name="AutoShape 8" descr="http://vsiep-online.ru/pluginfile.php/18582/course/overviewfiles/%D0%98%D0%BD%D1%84%D0%BE%D1%80%D0%BC%D0%B0%D1%86%D0%B8%D0%BE%D0%BD%D0%BD%D1%8B%D0%B5%20%D1%82%D0%B5%D1%85%D0%BD%D0%BE%D0%BB%D0%BE%D0%B3%D0%B8%D0%B8%20%D0%B2%20%D0%BF%D1%80%D0%BE%D1%84.%D0%B4%D0%B5%D1%8F%D1%82%D0%B5%D0%BB%D1%8C%D0%BD%D0%BE%D1%81%D1%82%D0%B8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5536" y="0"/>
            <a:ext cx="7776864" cy="826560"/>
          </a:xfrm>
        </p:spPr>
        <p:txBody>
          <a:bodyPr>
            <a:noAutofit/>
          </a:bodyPr>
          <a:lstStyle/>
          <a:p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Ситуация на сегодня – без доп.финансирования</a:t>
            </a:r>
            <a:b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</a:br>
            <a:r>
              <a:rPr lang="ru-RU" sz="2000" b="1" kern="12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rgbClr val="C00000"/>
                </a:solidFill>
                <a:latin typeface="Fedra Sans Pro Medium LF"/>
                <a:ea typeface="Fedra Sans Pro Medium LF"/>
                <a:cs typeface="Fedra Sans Pro Medium LF"/>
              </a:rPr>
              <a:t>(данные мониторинга, ноябрь 2018 г.)</a:t>
            </a:r>
            <a:endParaRPr lang="ru-RU" sz="2000" b="1" kern="12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solidFill>
                <a:srgbClr val="C00000"/>
              </a:solidFill>
              <a:latin typeface="Fedra Sans Pro Medium LF"/>
              <a:ea typeface="Fedra Sans Pro Medium LF"/>
              <a:cs typeface="Fedra Sans Pro Medium LF"/>
            </a:endParaRPr>
          </a:p>
        </p:txBody>
      </p:sp>
      <p:sp>
        <p:nvSpPr>
          <p:cNvPr id="14" name="Содержимое 13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 smtClean="0"/>
              <a:t>Обучено главных врачей/ответственных лиц принципам БП – 121 человек в 35 ЛПУ, 15 в процессе</a:t>
            </a:r>
          </a:p>
          <a:p>
            <a:r>
              <a:rPr lang="ru-RU" dirty="0" smtClean="0"/>
              <a:t>Сформирована проектная команда – 33 ЛПУ</a:t>
            </a:r>
          </a:p>
          <a:p>
            <a:r>
              <a:rPr lang="ru-RU" dirty="0" smtClean="0"/>
              <a:t>Определены основные проблемные процессы – 32 ЛПУ</a:t>
            </a:r>
          </a:p>
          <a:p>
            <a:r>
              <a:rPr lang="ru-RU" dirty="0" smtClean="0"/>
              <a:t>Внедрены </a:t>
            </a:r>
            <a:r>
              <a:rPr lang="ru-RU" dirty="0" err="1" smtClean="0"/>
              <a:t>СОПы</a:t>
            </a:r>
            <a:r>
              <a:rPr lang="ru-RU" dirty="0" smtClean="0"/>
              <a:t> – 38 ЛПУ</a:t>
            </a:r>
          </a:p>
          <a:p>
            <a:r>
              <a:rPr lang="ru-RU" dirty="0" smtClean="0"/>
              <a:t>Психолог для медработников и пациентов – в 30 ЛПУ</a:t>
            </a:r>
          </a:p>
          <a:p>
            <a:r>
              <a:rPr lang="ru-RU" dirty="0" smtClean="0"/>
              <a:t>Электронное расписание – 43 ЛПУ</a:t>
            </a:r>
          </a:p>
          <a:p>
            <a:r>
              <a:rPr lang="ru-RU" dirty="0" smtClean="0"/>
              <a:t>Администратор зала – 22 ЛПУ</a:t>
            </a:r>
          </a:p>
          <a:p>
            <a:r>
              <a:rPr lang="ru-RU" dirty="0" smtClean="0"/>
              <a:t>Электронная очередь – 29 ЛПУ</a:t>
            </a:r>
          </a:p>
          <a:p>
            <a:r>
              <a:rPr lang="en-US" dirty="0" smtClean="0"/>
              <a:t>Call</a:t>
            </a:r>
            <a:r>
              <a:rPr lang="el-GR" dirty="0" smtClean="0"/>
              <a:t> – </a:t>
            </a:r>
            <a:r>
              <a:rPr lang="ru-RU" dirty="0" smtClean="0"/>
              <a:t>центр – 10 ЛПУ</a:t>
            </a:r>
          </a:p>
          <a:p>
            <a:r>
              <a:rPr lang="ru-RU" dirty="0" smtClean="0"/>
              <a:t>Рациональное зонирование зон регистратур – 27 ЛПУ</a:t>
            </a:r>
          </a:p>
          <a:p>
            <a:r>
              <a:rPr lang="ru-RU" dirty="0" smtClean="0"/>
              <a:t>Удобная эргономика (</a:t>
            </a:r>
            <a:r>
              <a:rPr lang="en-US" dirty="0" smtClean="0"/>
              <a:t>5S)</a:t>
            </a:r>
            <a:r>
              <a:rPr lang="ru-RU" dirty="0"/>
              <a:t> </a:t>
            </a:r>
            <a:r>
              <a:rPr lang="ru-RU" dirty="0" smtClean="0"/>
              <a:t>– 26 ЛП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74769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2_Тема Office">
  <a:themeElements>
    <a:clrScheme name="Technologies">
      <a:dk1>
        <a:srgbClr val="3C3C3C"/>
      </a:dk1>
      <a:lt1>
        <a:sysClr val="window" lastClr="FFFFFF"/>
      </a:lt1>
      <a:dk2>
        <a:srgbClr val="00677E"/>
      </a:dk2>
      <a:lt2>
        <a:srgbClr val="DDDDDC"/>
      </a:lt2>
      <a:accent1>
        <a:srgbClr val="00703C"/>
      </a:accent1>
      <a:accent2>
        <a:srgbClr val="7DC244"/>
      </a:accent2>
      <a:accent3>
        <a:srgbClr val="D6E03C"/>
      </a:accent3>
      <a:accent4>
        <a:srgbClr val="F09528"/>
      </a:accent4>
      <a:accent5>
        <a:srgbClr val="8CD0F3"/>
      </a:accent5>
      <a:accent6>
        <a:srgbClr val="FFE800"/>
      </a:accent6>
      <a:hlink>
        <a:srgbClr val="0000FF"/>
      </a:hlink>
      <a:folHlink>
        <a:srgbClr val="800080"/>
      </a:folHlink>
    </a:clrScheme>
    <a:fontScheme name="Модульная">
      <a:maj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Тема Office">
  <a:themeElements>
    <a:clrScheme name="Technologies">
      <a:dk1>
        <a:srgbClr val="3C3C3C"/>
      </a:dk1>
      <a:lt1>
        <a:sysClr val="window" lastClr="FFFFFF"/>
      </a:lt1>
      <a:dk2>
        <a:srgbClr val="00677E"/>
      </a:dk2>
      <a:lt2>
        <a:srgbClr val="DDDDDC"/>
      </a:lt2>
      <a:accent1>
        <a:srgbClr val="00703C"/>
      </a:accent1>
      <a:accent2>
        <a:srgbClr val="7DC244"/>
      </a:accent2>
      <a:accent3>
        <a:srgbClr val="D6E03C"/>
      </a:accent3>
      <a:accent4>
        <a:srgbClr val="F09528"/>
      </a:accent4>
      <a:accent5>
        <a:srgbClr val="8CD0F3"/>
      </a:accent5>
      <a:accent6>
        <a:srgbClr val="FFE800"/>
      </a:accent6>
      <a:hlink>
        <a:srgbClr val="0000FF"/>
      </a:hlink>
      <a:folHlink>
        <a:srgbClr val="800080"/>
      </a:folHlink>
    </a:clrScheme>
    <a:fontScheme name="Модульная">
      <a:maj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rbel"/>
        <a:ea typeface=""/>
        <a:cs typeface=""/>
        <a:font script="Jpan" typeface="ＭＳ ゴシック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4</TotalTime>
  <Words>766</Words>
  <Application>Microsoft Office PowerPoint</Application>
  <PresentationFormat>Экран (4:3)</PresentationFormat>
  <Paragraphs>148</Paragraphs>
  <Slides>19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4" baseType="lpstr">
      <vt:lpstr>_ШАБЛОН_МЭР_СО - копия</vt:lpstr>
      <vt:lpstr>2_Тема Office</vt:lpstr>
      <vt:lpstr>3_Тема Office</vt:lpstr>
      <vt:lpstr>think-cell Slide</vt:lpstr>
      <vt:lpstr>Документ</vt:lpstr>
      <vt:lpstr>Слайд 1</vt:lpstr>
      <vt:lpstr>Нормативная база</vt:lpstr>
      <vt:lpstr>Проекты, реализующиеся на территории Самарской области</vt:lpstr>
      <vt:lpstr>Слайд 4</vt:lpstr>
      <vt:lpstr>Оптимизация процессов и 5С</vt:lpstr>
      <vt:lpstr>Слайд 6</vt:lpstr>
      <vt:lpstr>Работа проектного офиса</vt:lpstr>
      <vt:lpstr>Разработаны и рекомендованы к применению стандартные операционные процедуры (СОПы)</vt:lpstr>
      <vt:lpstr>Ситуация на сегодня – без доп.финансирования (данные мониторинга, ноябрь 2018 г.)</vt:lpstr>
      <vt:lpstr>Проект «Бережливая поликлиника» финансирование:  63,5 млн руб. на 13 ЛПУ – входные  группы, доступная среда, информатизация, навигация</vt:lpstr>
      <vt:lpstr>Разработан единый брендбук (единый  стиль) для учреждений здравоохранения, оказывающих первичную медико-санитарную помощь </vt:lpstr>
      <vt:lpstr>Разработана система мониторинга и контроля</vt:lpstr>
      <vt:lpstr>Самарская городская больница № 4</vt:lpstr>
      <vt:lpstr>Самарская городская больница № 10</vt:lpstr>
      <vt:lpstr>Самарская городская поликлиника № 6</vt:lpstr>
      <vt:lpstr>Тольяттинская городская поликлиника № 2</vt:lpstr>
      <vt:lpstr>Самарская МСЧ № 2</vt:lpstr>
      <vt:lpstr>Планируется реализовать в 2019 году</vt:lpstr>
      <vt:lpstr>Слайд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ЦИОНАЛЬНЫЙ ПРОЕКТ «Наименование»</dc:title>
  <dc:creator>Шайхова Л.Р.</dc:creator>
  <cp:lastModifiedBy>Анна</cp:lastModifiedBy>
  <cp:revision>108</cp:revision>
  <cp:lastPrinted>2018-11-02T10:50:19Z</cp:lastPrinted>
  <dcterms:modified xsi:type="dcterms:W3CDTF">2018-11-16T04:02:16Z</dcterms:modified>
</cp:coreProperties>
</file>